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36" r:id="rId3"/>
    <p:sldId id="2145706251" r:id="rId4"/>
    <p:sldId id="26422" r:id="rId5"/>
    <p:sldId id="26425" r:id="rId6"/>
    <p:sldId id="26418" r:id="rId7"/>
    <p:sldId id="2145706245" r:id="rId8"/>
    <p:sldId id="2145706244" r:id="rId9"/>
    <p:sldId id="2145706246" r:id="rId10"/>
    <p:sldId id="2145706247" r:id="rId11"/>
    <p:sldId id="2145706248" r:id="rId12"/>
    <p:sldId id="2145706250" r:id="rId13"/>
    <p:sldId id="2145706249" r:id="rId14"/>
    <p:sldId id="2145706242" r:id="rId15"/>
    <p:sldId id="2145706220"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106" d="100"/>
          <a:sy n="106" d="100"/>
        </p:scale>
        <p:origin x="672" y="96"/>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5.03.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5</a:t>
            </a:fld>
            <a:endParaRPr lang="de-DE" sz="1000"/>
          </a:p>
        </p:txBody>
      </p:sp>
    </p:spTree>
    <p:extLst>
      <p:ext uri="{BB962C8B-B14F-4D97-AF65-F5344CB8AC3E}">
        <p14:creationId xmlns:p14="http://schemas.microsoft.com/office/powerpoint/2010/main" val="135297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5.03.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5.03.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2.xml"/><Relationship Id="rId4" Type="http://schemas.openxmlformats.org/officeDocument/2006/relationships/hyperlink" Target="https://datatracker.ietf.org/doc/html/rfc7950"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18" Type="http://schemas.openxmlformats.org/officeDocument/2006/relationships/image" Target="../media/image11.png"/><Relationship Id="rId3" Type="http://schemas.openxmlformats.org/officeDocument/2006/relationships/tags" Target="../tags/tag3.xml"/><Relationship Id="rId21" Type="http://schemas.openxmlformats.org/officeDocument/2006/relationships/image" Target="../media/image14.png"/><Relationship Id="rId7" Type="http://schemas.openxmlformats.org/officeDocument/2006/relationships/tags" Target="../tags/tag7.xml"/><Relationship Id="rId12" Type="http://schemas.openxmlformats.org/officeDocument/2006/relationships/image" Target="../media/image5.jpeg"/><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19"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datatracker.ietf.org/doc/html/draft-ahuang-netconf-notif-yan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datatracker.ietf.org/doc/html/draft-tgraf-netconf-yang-push-observation-time" TargetMode="External"/><Relationship Id="rId2" Type="http://schemas.openxmlformats.org/officeDocument/2006/relationships/hyperlink" Target="https://datatracker.ietf.org/doc/html/draft-tgraf-netconf-notif-sequencing"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hyperlink" Target="https://datatracker.ietf.org/doc/html/draft-lincla-netconf-yang-library-augmentation"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Apache Kafka </a:t>
            </a:r>
            <a:r>
              <a:rPr lang="en-US" sz="3400" b="1" dirty="0">
                <a:solidFill>
                  <a:srgbClr val="FF0000"/>
                </a:solidFill>
              </a:rPr>
              <a:t>Integration</a:t>
            </a:r>
            <a:br>
              <a:rPr lang="en-US" sz="3600" b="1" dirty="0"/>
            </a:br>
            <a:r>
              <a:rPr lang="en-US" sz="2800" dirty="0"/>
              <a:t>draft-netana-nmop-yang-kafka-integration-01</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Apache Kafka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968758"/>
            <a:ext cx="5906142" cy="3992609"/>
          </a:xfrm>
        </p:spPr>
        <p:txBody>
          <a:bodyPr>
            <a:noAutofit/>
          </a:bodyPr>
          <a:lstStyle/>
          <a:p>
            <a:r>
              <a:rPr lang="en-US" sz="2000" b="1" dirty="0"/>
              <a:t>Validating </a:t>
            </a:r>
            <a:r>
              <a:rPr lang="en-US" sz="2000" b="1" dirty="0" err="1"/>
              <a:t>anydata</a:t>
            </a:r>
            <a:r>
              <a:rPr lang="en-US" sz="2000" b="1" dirty="0"/>
              <a:t> in YANG Library context</a:t>
            </a:r>
            <a:r>
              <a:rPr lang="en-US" sz="2000" dirty="0"/>
              <a:t>,</a:t>
            </a:r>
            <a:br>
              <a:rPr lang="en-US" sz="2000" dirty="0"/>
            </a:b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enables that </a:t>
            </a:r>
            <a:r>
              <a:rPr lang="en-US" sz="2000" dirty="0" err="1"/>
              <a:t>anydata</a:t>
            </a:r>
            <a:r>
              <a:rPr lang="en-US" sz="2000" dirty="0"/>
              <a:t> modeled nodes can be validated with YANG Library </a:t>
            </a:r>
            <a:r>
              <a:rPr lang="en-US" sz="2000" dirty="0">
                <a:hlinkClick r:id="rId3"/>
              </a:rPr>
              <a:t>RFC 8525</a:t>
            </a:r>
            <a:r>
              <a:rPr lang="en-US" sz="2000" dirty="0"/>
              <a:t>.</a:t>
            </a:r>
          </a:p>
          <a:p>
            <a:endParaRPr lang="en-US" sz="2000" dirty="0"/>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7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3678699"/>
          </a:xfrm>
          <a:prstGeom prst="rect">
            <a:avLst/>
          </a:prstGeom>
          <a:noFill/>
        </p:spPr>
        <p:txBody>
          <a:bodyPr wrap="square">
            <a:spAutoFit/>
          </a:bodyPr>
          <a:lstStyle/>
          <a:p>
            <a:pPr marL="0" marR="0">
              <a:lnSpc>
                <a:spcPct val="107000"/>
              </a:lnSpc>
              <a:spcBef>
                <a:spcPts val="0"/>
              </a:spcBef>
              <a:spcAft>
                <a:spcPts val="0"/>
              </a:spcAft>
            </a:pP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id?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endParaRPr lang="en-US" sz="1200" dirty="0">
              <a:latin typeface="Courier New" panose="02070309020205020404" pitchFamily="49" charset="0"/>
              <a:cs typeface="Courier New" panose="02070309020205020404" pitchFamily="49" charset="0"/>
            </a:endParaRPr>
          </a:p>
          <a:p>
            <a:r>
              <a:rPr lang="en-US" sz="1200" b="0" dirty="0">
                <a:effectLst/>
                <a:latin typeface="Courier New" panose="02070309020205020404" pitchFamily="49" charset="0"/>
                <a:cs typeface="Courier New" panose="02070309020205020404" pitchFamily="49" charset="0"/>
              </a:rPr>
              <a:t>{</a:t>
            </a:r>
          </a:p>
          <a:p>
            <a:r>
              <a:rPr lang="en-US" sz="1200" b="0" dirty="0">
                <a:effectLst/>
                <a:latin typeface="Courier New" panose="02070309020205020404" pitchFamily="49" charset="0"/>
                <a:cs typeface="Courier New" panose="02070309020205020404" pitchFamily="49" charset="0"/>
              </a:rPr>
              <a:t>  "</a:t>
            </a:r>
            <a:r>
              <a:rPr lang="en-US" sz="1200" b="0" dirty="0" err="1">
                <a:effectLst/>
                <a:latin typeface="Courier New" panose="02070309020205020404" pitchFamily="49" charset="0"/>
                <a:cs typeface="Courier New" panose="02070309020205020404" pitchFamily="49" charset="0"/>
              </a:rPr>
              <a:t>ietf-yang-push:push-update</a:t>
            </a:r>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id": 89,</a:t>
            </a:r>
          </a:p>
          <a:p>
            <a:r>
              <a:rPr lang="en-US" sz="1200" b="0" dirty="0">
                <a:effectLst/>
                <a:latin typeface="Courier New" panose="02070309020205020404" pitchFamily="49" charset="0"/>
                <a:cs typeface="Courier New" panose="02070309020205020404" pitchFamily="49" charset="0"/>
              </a:rPr>
              <a:t>    "datastore-contents": {</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ietf-interfaces:interfaces</a:t>
            </a:r>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interface":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name": "eth0",</a:t>
            </a:r>
          </a:p>
          <a:p>
            <a:r>
              <a:rPr lang="en-US" sz="1200" b="0" dirty="0">
                <a:effectLst/>
                <a:highlight>
                  <a:srgbClr val="FFFF00"/>
                </a:highlight>
                <a:latin typeface="Courier New" panose="02070309020205020404" pitchFamily="49" charset="0"/>
                <a:cs typeface="Courier New" panose="02070309020205020404" pitchFamily="49" charset="0"/>
              </a:rPr>
              <a:t>          "</a:t>
            </a:r>
            <a:r>
              <a:rPr lang="en-US" sz="1200" b="0" dirty="0" err="1">
                <a:effectLst/>
                <a:highlight>
                  <a:srgbClr val="FFFF00"/>
                </a:highlight>
                <a:latin typeface="Courier New" panose="02070309020205020404" pitchFamily="49" charset="0"/>
                <a:cs typeface="Courier New" panose="02070309020205020404" pitchFamily="49" charset="0"/>
              </a:rPr>
              <a:t>oper</a:t>
            </a:r>
            <a:r>
              <a:rPr lang="en-US" sz="1200" b="0" dirty="0">
                <a:effectLst/>
                <a:highlight>
                  <a:srgbClr val="FFFF00"/>
                </a:highlight>
                <a:latin typeface="Courier New" panose="02070309020205020404" pitchFamily="49" charset="0"/>
                <a:cs typeface="Courier New" panose="02070309020205020404" pitchFamily="49" charset="0"/>
              </a:rPr>
              <a:t>-status": "down"</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highlight>
                  <a:srgbClr val="FFFF00"/>
                </a:highligh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   }</a:t>
            </a:r>
          </a:p>
          <a:p>
            <a:r>
              <a:rPr lang="en-US" sz="1200" b="0" dirty="0">
                <a:effectLst/>
                <a:latin typeface="Courier New" panose="02070309020205020404" pitchFamily="49" charset="0"/>
                <a:cs typeface="Courier New" panose="02070309020205020404" pitchFamily="49" charset="0"/>
              </a:rPr>
              <a:t>}</a:t>
            </a:r>
            <a:endParaRPr lang="de-CH" sz="1200" dirty="0">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24226BF6-DD67-00E2-120A-AD744944955E}"/>
              </a:ext>
            </a:extLst>
          </p:cNvPr>
          <p:cNvSpPr txBox="1"/>
          <p:nvPr/>
        </p:nvSpPr>
        <p:spPr>
          <a:xfrm>
            <a:off x="4273236" y="3283711"/>
            <a:ext cx="708056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4"/>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 block of</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r>
              <a:rPr lang="de-CH" sz="1200" dirty="0" err="1">
                <a:latin typeface="Courier New" panose="02070309020205020404" pitchFamily="49" charset="0"/>
                <a:cs typeface="Courier New" panose="02070309020205020404" pitchFamily="49" charset="0"/>
              </a:rPr>
              <a:t>nodes</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endParaRPr lang="de-CH" sz="1200" dirty="0">
              <a:highlight>
                <a:srgbClr val="FFFF00"/>
              </a:highlight>
              <a:latin typeface="Courier New" panose="02070309020205020404" pitchFamily="49" charset="0"/>
              <a:cs typeface="Courier New" panose="02070309020205020404" pitchFamily="49" charset="0"/>
            </a:endParaRPr>
          </a:p>
          <a:p>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489930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2198460"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3539211"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959116"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60588"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2222533"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676335"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5042259"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906603"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1366728"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406536"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719772"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973598"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838200"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700208"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959116"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2435176"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2295094"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5220163"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6389422"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6569305"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35889"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703538"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957364"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8015426"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9169225"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9292289"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33502"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907569"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05595"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435275"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310778"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IETF 115: </a:t>
            </a:r>
            <a:r>
              <a:rPr lang="en-US" dirty="0"/>
              <a:t>Official Project Kickoff. Introduced </a:t>
            </a:r>
            <a:r>
              <a:rPr lang="en-US" sz="2000" dirty="0">
                <a:hlinkClick r:id="rId2"/>
              </a:rPr>
              <a:t>draft-</a:t>
            </a:r>
            <a:r>
              <a:rPr lang="en-US" sz="2000" dirty="0" err="1">
                <a:hlinkClick r:id="rId2"/>
              </a:rPr>
              <a:t>ietf</a:t>
            </a:r>
            <a:r>
              <a:rPr lang="en-US" sz="2000" dirty="0">
                <a:hlinkClick r:id="rId2"/>
              </a:rPr>
              <a:t>-netconf-yang-notifications-versioning</a:t>
            </a:r>
            <a:r>
              <a:rPr lang="en-US" dirty="0"/>
              <a:t>.</a:t>
            </a:r>
          </a:p>
          <a:p>
            <a:r>
              <a:rPr lang="en-US" b="1" dirty="0">
                <a:solidFill>
                  <a:srgbClr val="FF0000"/>
                </a:solidFill>
              </a:rPr>
              <a:t>IETF 116: </a:t>
            </a:r>
            <a:r>
              <a:rPr lang="en-US" dirty="0"/>
              <a:t>YANG module with augmentations can be registered in Confluent Schema Registry with YANG extension.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a:t>
            </a:r>
            <a:r>
              <a:rPr lang="en-US" sz="2000" dirty="0">
                <a:hlinkClick r:id="rId4"/>
              </a:rPr>
              <a:t>draft-</a:t>
            </a:r>
            <a:r>
              <a:rPr lang="en-US" sz="2000" dirty="0" err="1">
                <a:hlinkClick r:id="rId4"/>
              </a:rPr>
              <a:t>tgraf</a:t>
            </a:r>
            <a:r>
              <a:rPr lang="en-US" sz="2000" dirty="0">
                <a:hlinkClick r:id="rId4"/>
              </a:rPr>
              <a:t>-netconf-yang-push-observation-time</a:t>
            </a:r>
            <a:r>
              <a:rPr lang="en-US" sz="2000" dirty="0"/>
              <a:t> and </a:t>
            </a:r>
            <a:r>
              <a:rPr lang="en-US" sz="2000" dirty="0">
                <a:hlinkClick r:id="rId5"/>
              </a:rPr>
              <a:t>draft-</a:t>
            </a:r>
            <a:r>
              <a:rPr lang="en-US" sz="2000" dirty="0" err="1">
                <a:hlinkClick r:id="rId5"/>
              </a:rPr>
              <a:t>ahuang</a:t>
            </a:r>
            <a:r>
              <a:rPr lang="en-US" sz="2000" dirty="0">
                <a:hlinkClick r:id="rId5"/>
              </a:rPr>
              <a:t>-netconf-</a:t>
            </a:r>
            <a:r>
              <a:rPr lang="en-US" sz="2000" dirty="0" err="1">
                <a:hlinkClick r:id="rId5"/>
              </a:rPr>
              <a:t>notif</a:t>
            </a:r>
            <a:r>
              <a:rPr lang="en-US" sz="2000" dirty="0">
                <a:hlinkClick r:id="rId5"/>
              </a:rPr>
              <a:t>-yang</a:t>
            </a:r>
            <a:r>
              <a:rPr lang="en-US" sz="2000" dirty="0"/>
              <a:t> introduced.</a:t>
            </a:r>
            <a:endParaRPr lang="en-US" dirty="0"/>
          </a:p>
          <a:p>
            <a:r>
              <a:rPr lang="en-US" b="1" dirty="0">
                <a:solidFill>
                  <a:srgbClr val="FF0000"/>
                </a:solidFill>
              </a:rPr>
              <a:t>IETF 118: </a:t>
            </a:r>
            <a:r>
              <a:rPr lang="en-US" dirty="0"/>
              <a:t>All relevant YANG modules for a subscribed </a:t>
            </a:r>
            <a:r>
              <a:rPr lang="en-US" dirty="0" err="1"/>
              <a:t>xpath</a:t>
            </a:r>
            <a:r>
              <a:rPr lang="en-US" dirty="0"/>
              <a:t> can be determined through the YANG Library </a:t>
            </a:r>
            <a:r>
              <a:rPr lang="en-US" dirty="0">
                <a:hlinkClick r:id="rId6"/>
              </a:rPr>
              <a:t>RFC 8525 </a:t>
            </a:r>
            <a:r>
              <a:rPr lang="en-US" dirty="0"/>
              <a:t>and retrieved </a:t>
            </a:r>
            <a:r>
              <a:rPr lang="en-US" dirty="0" err="1"/>
              <a:t>throug</a:t>
            </a:r>
            <a:r>
              <a:rPr lang="en-US" dirty="0"/>
              <a:t> NETCONF &lt;get-schema&gt; </a:t>
            </a:r>
            <a:r>
              <a:rPr lang="en-US" dirty="0" err="1"/>
              <a:t>rpc</a:t>
            </a:r>
            <a:r>
              <a:rPr lang="en-US" dirty="0"/>
              <a:t> calls according to </a:t>
            </a:r>
            <a:r>
              <a:rPr lang="en-US" dirty="0">
                <a:hlinkClick r:id="rId6"/>
              </a:rPr>
              <a:t>RFC 6022</a:t>
            </a:r>
            <a:r>
              <a:rPr lang="en-US" dirty="0"/>
              <a:t>.  Gap in YANG library addressed in </a:t>
            </a:r>
            <a:r>
              <a:rPr lang="en-US" sz="2000" dirty="0">
                <a:hlinkClick r:id="rId7"/>
              </a:rPr>
              <a:t>draft-</a:t>
            </a:r>
            <a:r>
              <a:rPr lang="en-US" sz="2000" dirty="0" err="1">
                <a:hlinkClick r:id="rId7"/>
              </a:rPr>
              <a:t>lincla</a:t>
            </a:r>
            <a:r>
              <a:rPr lang="en-US" sz="2000" dirty="0">
                <a:hlinkClick r:id="rId7"/>
              </a:rPr>
              <a:t>-netconf-yang-library-augmentation</a:t>
            </a:r>
            <a:r>
              <a:rPr lang="en-US" sz="2000" dirty="0"/>
              <a:t>.</a:t>
            </a:r>
          </a:p>
          <a:p>
            <a:r>
              <a:rPr lang="en-US" b="1" dirty="0">
                <a:solidFill>
                  <a:srgbClr val="FF0000"/>
                </a:solidFill>
              </a:rPr>
              <a:t>IETF 119: </a:t>
            </a:r>
            <a:r>
              <a:rPr lang="en-US" sz="2000" dirty="0">
                <a:hlinkClick r:id="rId8"/>
              </a:rPr>
              <a:t>draft-</a:t>
            </a:r>
            <a:r>
              <a:rPr lang="en-US" sz="2000" dirty="0" err="1">
                <a:hlinkClick r:id="rId8"/>
              </a:rPr>
              <a:t>aelhassany</a:t>
            </a:r>
            <a:r>
              <a:rPr lang="en-US" sz="2000" dirty="0">
                <a:hlinkClick r:id="rId8"/>
              </a:rPr>
              <a:t>-</a:t>
            </a:r>
            <a:r>
              <a:rPr lang="en-US" sz="2000" dirty="0" err="1">
                <a:hlinkClick r:id="rId8"/>
              </a:rPr>
              <a:t>anydata</a:t>
            </a:r>
            <a:r>
              <a:rPr lang="en-US" sz="2000" dirty="0">
                <a:hlinkClick r:id="rId8"/>
              </a:rPr>
              <a:t>-validation</a:t>
            </a:r>
            <a:r>
              <a:rPr lang="en-US" sz="2000" dirty="0"/>
              <a:t> addresses that </a:t>
            </a:r>
            <a:r>
              <a:rPr lang="en-US" sz="2000" dirty="0" err="1"/>
              <a:t>anydata</a:t>
            </a:r>
            <a:r>
              <a:rPr lang="en-US" sz="2000" dirty="0"/>
              <a:t> modeled nodes can be validated with YANG Library </a:t>
            </a:r>
            <a:r>
              <a:rPr lang="en-US" sz="2000" dirty="0">
                <a:hlinkClick r:id="rId9"/>
              </a:rPr>
              <a:t>RFC 8525</a:t>
            </a:r>
            <a:r>
              <a:rPr lang="en-US" sz="2000" dirty="0"/>
              <a:t>. </a:t>
            </a:r>
            <a:r>
              <a:rPr lang="en-US" dirty="0"/>
              <a:t>6WIND VSR and Huawei VRP </a:t>
            </a:r>
            <a:r>
              <a:rPr lang="en-US" sz="2000" dirty="0"/>
              <a:t>YANG</a:t>
            </a:r>
            <a:r>
              <a:rPr lang="en-US" dirty="0"/>
              <a:t>-Push and open-source </a:t>
            </a:r>
            <a:r>
              <a:rPr lang="en-US" sz="2000" dirty="0">
                <a:hlinkClick r:id="rId7"/>
              </a:rPr>
              <a:t>draft-</a:t>
            </a:r>
            <a:r>
              <a:rPr lang="en-US" sz="2000" dirty="0" err="1">
                <a:hlinkClick r:id="rId7"/>
              </a:rPr>
              <a:t>lincla</a:t>
            </a:r>
            <a:r>
              <a:rPr lang="en-US" sz="2000" dirty="0">
                <a:hlinkClick r:id="rId7"/>
              </a:rPr>
              <a:t>-netconf-yang-library-augmentation</a:t>
            </a:r>
            <a:r>
              <a:rPr lang="en-US" dirty="0"/>
              <a:t> implementation validated at hackathon.</a:t>
            </a:r>
            <a:endParaRPr lang="en-US" sz="2000" dirty="0"/>
          </a:p>
          <a:p>
            <a:endParaRPr lang="en-US"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115 - 119</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a:t>
            </a:r>
            <a:br>
              <a:rPr lang="en-US" sz="4000" dirty="0"/>
            </a:br>
            <a:r>
              <a:rPr lang="en-US" sz="2800" dirty="0">
                <a:solidFill>
                  <a:schemeClr val="bg2">
                    <a:lumMod val="75000"/>
                  </a:schemeClr>
                </a:solidFill>
              </a:rPr>
              <a:t>Currently ongoing</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560325" cy="4292543"/>
          </a:xfrm>
        </p:spPr>
        <p:txBody>
          <a:bodyPr>
            <a:noAutofit/>
          </a:bodyPr>
          <a:lstStyle/>
          <a:p>
            <a:pPr marL="0" indent="0">
              <a:buNone/>
            </a:pPr>
            <a:r>
              <a:rPr lang="en-US" sz="1700" b="1" dirty="0"/>
              <a:t>Status</a:t>
            </a:r>
          </a:p>
          <a:p>
            <a:pPr>
              <a:spcBef>
                <a:spcPts val="300"/>
              </a:spcBef>
            </a:pPr>
            <a:r>
              <a:rPr lang="en-US" sz="1700" dirty="0"/>
              <a:t>IETF Community requested to have an architecture overview document describing motivation, architecture and dependencies on YANG-Push, YANG Library and YANG enhancements. </a:t>
            </a:r>
          </a:p>
          <a:p>
            <a:pPr marL="0" indent="0">
              <a:buNone/>
            </a:pPr>
            <a:r>
              <a:rPr lang="en-US" sz="1700" b="1" dirty="0"/>
              <a:t>Summary</a:t>
            </a:r>
          </a:p>
          <a:p>
            <a:pPr>
              <a:spcBef>
                <a:spcPts val="300"/>
              </a:spcBef>
            </a:pPr>
            <a:r>
              <a:rPr lang="en-US" sz="1700" dirty="0"/>
              <a:t>Describes motivation, architecture and dependencies on YANG-Push, YANG Library and YANG enhancements. </a:t>
            </a:r>
          </a:p>
          <a:p>
            <a:pPr>
              <a:spcBef>
                <a:spcPts val="300"/>
              </a:spcBef>
            </a:pPr>
            <a:r>
              <a:rPr lang="en-US" sz="1700" dirty="0"/>
              <a:t>Describes project milestones with status and open points which are either addressed in this IETF or are going to be addressed next.</a:t>
            </a:r>
          </a:p>
          <a:p>
            <a:pPr>
              <a:spcBef>
                <a:spcPts val="300"/>
              </a:spcBef>
            </a:pPr>
            <a:r>
              <a:rPr lang="en-US" sz="1700" b="1" dirty="0"/>
              <a:t>Do you realize the benefit of having YANG-Push natively integrated into Apache Kafka? </a:t>
            </a:r>
            <a:r>
              <a:rPr lang="en-US" sz="1700" b="1" dirty="0">
                <a:solidFill>
                  <a:srgbClr val="FF0000"/>
                </a:solidFill>
              </a:rPr>
              <a:t>-&gt; What are your thoughts and comments?</a:t>
            </a:r>
          </a:p>
          <a:p>
            <a:pPr>
              <a:spcBef>
                <a:spcPts val="300"/>
              </a:spcBef>
            </a:pPr>
            <a:r>
              <a:rPr lang="en-US" sz="1700" b="1" dirty="0"/>
              <a:t>Do you agree on the shortcomings in YANG-Push, YANG Library and YANG and how they are addressed? </a:t>
            </a:r>
            <a:r>
              <a:rPr lang="en-US" sz="1700" b="1" dirty="0">
                <a:solidFill>
                  <a:srgbClr val="FF0000"/>
                </a:solidFill>
              </a:rPr>
              <a:t>-&gt; What are your thoughts and comments?</a:t>
            </a:r>
          </a:p>
          <a:p>
            <a:pPr marL="0" indent="0">
              <a:buNone/>
            </a:pPr>
            <a:r>
              <a:rPr lang="en-US" sz="1700" b="1" dirty="0"/>
              <a:t>Next Steps</a:t>
            </a:r>
          </a:p>
          <a:p>
            <a:pPr>
              <a:spcBef>
                <a:spcPts val="300"/>
              </a:spcBef>
            </a:pPr>
            <a:r>
              <a:rPr lang="en-US" sz="1700" b="1" dirty="0">
                <a:solidFill>
                  <a:srgbClr val="FF0000"/>
                </a:solidFill>
              </a:rPr>
              <a:t>-&gt; We request NMOP working group adoption.</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
        <p:nvSpPr>
          <p:cNvPr id="4" name="Subtitle 4">
            <a:extLst>
              <a:ext uri="{FF2B5EF4-FFF2-40B4-BE49-F238E27FC236}">
                <a16:creationId xmlns:a16="http://schemas.microsoft.com/office/drawing/2014/main" id="{6E210162-8BA9-2D0F-F527-CE596B88B5FF}"/>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16. </a:t>
            </a:r>
            <a:r>
              <a:rPr lang="de-CH" sz="1400" dirty="0">
                <a:latin typeface="+mj-lt"/>
                <a:ea typeface="+mj-ea"/>
                <a:cs typeface="+mj-cs"/>
              </a:rPr>
              <a:t>March 2024</a:t>
            </a:r>
            <a:endParaRPr lang="de-CH" sz="1400" dirty="0">
              <a:latin typeface="+mj-lt"/>
            </a:endParaRPr>
          </a:p>
          <a:p>
            <a:pPr algn="r"/>
            <a:endParaRPr lang="de-CH" sz="22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5</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8">
            <a:extLst>
              <a:ext uri="{FF2B5EF4-FFF2-40B4-BE49-F238E27FC236}">
                <a16:creationId xmlns:a16="http://schemas.microsoft.com/office/drawing/2014/main" id="{4FE70E86-779D-4922-A020-0B3E5C05AA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81F55513-2668-477C-9962-1B9F5E31F12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845450"/>
            <a:ext cx="12192000" cy="3012550"/>
            <a:chOff x="0" y="3845450"/>
            <a:chExt cx="12192000" cy="3012550"/>
          </a:xfrm>
        </p:grpSpPr>
        <p:sp>
          <p:nvSpPr>
            <p:cNvPr id="42" name="Freeform: Shape 41">
              <a:extLst>
                <a:ext uri="{FF2B5EF4-FFF2-40B4-BE49-F238E27FC236}">
                  <a16:creationId xmlns:a16="http://schemas.microsoft.com/office/drawing/2014/main" id="{E673CDF5-001D-42B7-BB27-B3C4724074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989828"/>
              <a:ext cx="12192000" cy="2868172"/>
            </a:xfrm>
            <a:custGeom>
              <a:avLst/>
              <a:gdLst>
                <a:gd name="connsiteX0" fmla="*/ 619389 w 12192000"/>
                <a:gd name="connsiteY0" fmla="*/ 0 h 2868172"/>
                <a:gd name="connsiteX1" fmla="*/ 687652 w 12192000"/>
                <a:gd name="connsiteY1" fmla="*/ 3175 h 2868172"/>
                <a:gd name="connsiteX2" fmla="*/ 747977 w 12192000"/>
                <a:gd name="connsiteY2" fmla="*/ 9525 h 2868172"/>
                <a:gd name="connsiteX3" fmla="*/ 800364 w 12192000"/>
                <a:gd name="connsiteY3" fmla="*/ 20637 h 2868172"/>
                <a:gd name="connsiteX4" fmla="*/ 846402 w 12192000"/>
                <a:gd name="connsiteY4" fmla="*/ 36512 h 2868172"/>
                <a:gd name="connsiteX5" fmla="*/ 887677 w 12192000"/>
                <a:gd name="connsiteY5" fmla="*/ 52387 h 2868172"/>
                <a:gd name="connsiteX6" fmla="*/ 924189 w 12192000"/>
                <a:gd name="connsiteY6" fmla="*/ 68262 h 2868172"/>
                <a:gd name="connsiteX7" fmla="*/ 962289 w 12192000"/>
                <a:gd name="connsiteY7" fmla="*/ 87312 h 2868172"/>
                <a:gd name="connsiteX8" fmla="*/ 1000389 w 12192000"/>
                <a:gd name="connsiteY8" fmla="*/ 106362 h 2868172"/>
                <a:gd name="connsiteX9" fmla="*/ 1036902 w 12192000"/>
                <a:gd name="connsiteY9" fmla="*/ 125412 h 2868172"/>
                <a:gd name="connsiteX10" fmla="*/ 1078177 w 12192000"/>
                <a:gd name="connsiteY10" fmla="*/ 141287 h 2868172"/>
                <a:gd name="connsiteX11" fmla="*/ 1124214 w 12192000"/>
                <a:gd name="connsiteY11" fmla="*/ 155575 h 2868172"/>
                <a:gd name="connsiteX12" fmla="*/ 1176602 w 12192000"/>
                <a:gd name="connsiteY12" fmla="*/ 166687 h 2868172"/>
                <a:gd name="connsiteX13" fmla="*/ 1236927 w 12192000"/>
                <a:gd name="connsiteY13" fmla="*/ 174625 h 2868172"/>
                <a:gd name="connsiteX14" fmla="*/ 1305189 w 12192000"/>
                <a:gd name="connsiteY14" fmla="*/ 176212 h 2868172"/>
                <a:gd name="connsiteX15" fmla="*/ 1373452 w 12192000"/>
                <a:gd name="connsiteY15" fmla="*/ 174625 h 2868172"/>
                <a:gd name="connsiteX16" fmla="*/ 1433777 w 12192000"/>
                <a:gd name="connsiteY16" fmla="*/ 166687 h 2868172"/>
                <a:gd name="connsiteX17" fmla="*/ 1486164 w 12192000"/>
                <a:gd name="connsiteY17" fmla="*/ 155575 h 2868172"/>
                <a:gd name="connsiteX18" fmla="*/ 1532202 w 12192000"/>
                <a:gd name="connsiteY18" fmla="*/ 141287 h 2868172"/>
                <a:gd name="connsiteX19" fmla="*/ 1573477 w 12192000"/>
                <a:gd name="connsiteY19" fmla="*/ 125412 h 2868172"/>
                <a:gd name="connsiteX20" fmla="*/ 1609989 w 12192000"/>
                <a:gd name="connsiteY20" fmla="*/ 106362 h 2868172"/>
                <a:gd name="connsiteX21" fmla="*/ 1648089 w 12192000"/>
                <a:gd name="connsiteY21" fmla="*/ 87312 h 2868172"/>
                <a:gd name="connsiteX22" fmla="*/ 1686189 w 12192000"/>
                <a:gd name="connsiteY22" fmla="*/ 68262 h 2868172"/>
                <a:gd name="connsiteX23" fmla="*/ 1722702 w 12192000"/>
                <a:gd name="connsiteY23" fmla="*/ 52387 h 2868172"/>
                <a:gd name="connsiteX24" fmla="*/ 1763977 w 12192000"/>
                <a:gd name="connsiteY24" fmla="*/ 36512 h 2868172"/>
                <a:gd name="connsiteX25" fmla="*/ 1810014 w 12192000"/>
                <a:gd name="connsiteY25" fmla="*/ 20637 h 2868172"/>
                <a:gd name="connsiteX26" fmla="*/ 1862402 w 12192000"/>
                <a:gd name="connsiteY26" fmla="*/ 9525 h 2868172"/>
                <a:gd name="connsiteX27" fmla="*/ 1922727 w 12192000"/>
                <a:gd name="connsiteY27" fmla="*/ 3175 h 2868172"/>
                <a:gd name="connsiteX28" fmla="*/ 1990989 w 12192000"/>
                <a:gd name="connsiteY28" fmla="*/ 0 h 2868172"/>
                <a:gd name="connsiteX29" fmla="*/ 2059252 w 12192000"/>
                <a:gd name="connsiteY29" fmla="*/ 3175 h 2868172"/>
                <a:gd name="connsiteX30" fmla="*/ 2119577 w 12192000"/>
                <a:gd name="connsiteY30" fmla="*/ 9525 h 2868172"/>
                <a:gd name="connsiteX31" fmla="*/ 2171964 w 12192000"/>
                <a:gd name="connsiteY31" fmla="*/ 20637 h 2868172"/>
                <a:gd name="connsiteX32" fmla="*/ 2218002 w 12192000"/>
                <a:gd name="connsiteY32" fmla="*/ 36512 h 2868172"/>
                <a:gd name="connsiteX33" fmla="*/ 2259277 w 12192000"/>
                <a:gd name="connsiteY33" fmla="*/ 52387 h 2868172"/>
                <a:gd name="connsiteX34" fmla="*/ 2295789 w 12192000"/>
                <a:gd name="connsiteY34" fmla="*/ 68262 h 2868172"/>
                <a:gd name="connsiteX35" fmla="*/ 2333889 w 12192000"/>
                <a:gd name="connsiteY35" fmla="*/ 87312 h 2868172"/>
                <a:gd name="connsiteX36" fmla="*/ 2371989 w 12192000"/>
                <a:gd name="connsiteY36" fmla="*/ 106362 h 2868172"/>
                <a:gd name="connsiteX37" fmla="*/ 2408502 w 12192000"/>
                <a:gd name="connsiteY37" fmla="*/ 125412 h 2868172"/>
                <a:gd name="connsiteX38" fmla="*/ 2449777 w 12192000"/>
                <a:gd name="connsiteY38" fmla="*/ 141287 h 2868172"/>
                <a:gd name="connsiteX39" fmla="*/ 2495814 w 12192000"/>
                <a:gd name="connsiteY39" fmla="*/ 155575 h 2868172"/>
                <a:gd name="connsiteX40" fmla="*/ 2548202 w 12192000"/>
                <a:gd name="connsiteY40" fmla="*/ 166687 h 2868172"/>
                <a:gd name="connsiteX41" fmla="*/ 2608527 w 12192000"/>
                <a:gd name="connsiteY41" fmla="*/ 174625 h 2868172"/>
                <a:gd name="connsiteX42" fmla="*/ 2676789 w 12192000"/>
                <a:gd name="connsiteY42" fmla="*/ 176212 h 2868172"/>
                <a:gd name="connsiteX43" fmla="*/ 2745052 w 12192000"/>
                <a:gd name="connsiteY43" fmla="*/ 174625 h 2868172"/>
                <a:gd name="connsiteX44" fmla="*/ 2805377 w 12192000"/>
                <a:gd name="connsiteY44" fmla="*/ 166687 h 2868172"/>
                <a:gd name="connsiteX45" fmla="*/ 2857764 w 12192000"/>
                <a:gd name="connsiteY45" fmla="*/ 155575 h 2868172"/>
                <a:gd name="connsiteX46" fmla="*/ 2903802 w 12192000"/>
                <a:gd name="connsiteY46" fmla="*/ 141287 h 2868172"/>
                <a:gd name="connsiteX47" fmla="*/ 2945077 w 12192000"/>
                <a:gd name="connsiteY47" fmla="*/ 125412 h 2868172"/>
                <a:gd name="connsiteX48" fmla="*/ 2981589 w 12192000"/>
                <a:gd name="connsiteY48" fmla="*/ 106362 h 2868172"/>
                <a:gd name="connsiteX49" fmla="*/ 3019689 w 12192000"/>
                <a:gd name="connsiteY49" fmla="*/ 87312 h 2868172"/>
                <a:gd name="connsiteX50" fmla="*/ 3057789 w 12192000"/>
                <a:gd name="connsiteY50" fmla="*/ 68262 h 2868172"/>
                <a:gd name="connsiteX51" fmla="*/ 3094302 w 12192000"/>
                <a:gd name="connsiteY51" fmla="*/ 52387 h 2868172"/>
                <a:gd name="connsiteX52" fmla="*/ 3135577 w 12192000"/>
                <a:gd name="connsiteY52" fmla="*/ 36512 h 2868172"/>
                <a:gd name="connsiteX53" fmla="*/ 3181614 w 12192000"/>
                <a:gd name="connsiteY53" fmla="*/ 20637 h 2868172"/>
                <a:gd name="connsiteX54" fmla="*/ 3234002 w 12192000"/>
                <a:gd name="connsiteY54" fmla="*/ 9525 h 2868172"/>
                <a:gd name="connsiteX55" fmla="*/ 3294327 w 12192000"/>
                <a:gd name="connsiteY55" fmla="*/ 3175 h 2868172"/>
                <a:gd name="connsiteX56" fmla="*/ 3361002 w 12192000"/>
                <a:gd name="connsiteY56" fmla="*/ 0 h 2868172"/>
                <a:gd name="connsiteX57" fmla="*/ 3430852 w 12192000"/>
                <a:gd name="connsiteY57" fmla="*/ 3175 h 2868172"/>
                <a:gd name="connsiteX58" fmla="*/ 3491177 w 12192000"/>
                <a:gd name="connsiteY58" fmla="*/ 9525 h 2868172"/>
                <a:gd name="connsiteX59" fmla="*/ 3543564 w 12192000"/>
                <a:gd name="connsiteY59" fmla="*/ 20637 h 2868172"/>
                <a:gd name="connsiteX60" fmla="*/ 3589602 w 12192000"/>
                <a:gd name="connsiteY60" fmla="*/ 36512 h 2868172"/>
                <a:gd name="connsiteX61" fmla="*/ 3630877 w 12192000"/>
                <a:gd name="connsiteY61" fmla="*/ 52387 h 2868172"/>
                <a:gd name="connsiteX62" fmla="*/ 3667389 w 12192000"/>
                <a:gd name="connsiteY62" fmla="*/ 68262 h 2868172"/>
                <a:gd name="connsiteX63" fmla="*/ 3705489 w 12192000"/>
                <a:gd name="connsiteY63" fmla="*/ 87312 h 2868172"/>
                <a:gd name="connsiteX64" fmla="*/ 3743589 w 12192000"/>
                <a:gd name="connsiteY64" fmla="*/ 106362 h 2868172"/>
                <a:gd name="connsiteX65" fmla="*/ 3780102 w 12192000"/>
                <a:gd name="connsiteY65" fmla="*/ 125412 h 2868172"/>
                <a:gd name="connsiteX66" fmla="*/ 3821377 w 12192000"/>
                <a:gd name="connsiteY66" fmla="*/ 141287 h 2868172"/>
                <a:gd name="connsiteX67" fmla="*/ 3867414 w 12192000"/>
                <a:gd name="connsiteY67" fmla="*/ 155575 h 2868172"/>
                <a:gd name="connsiteX68" fmla="*/ 3919802 w 12192000"/>
                <a:gd name="connsiteY68" fmla="*/ 166687 h 2868172"/>
                <a:gd name="connsiteX69" fmla="*/ 3980127 w 12192000"/>
                <a:gd name="connsiteY69" fmla="*/ 174625 h 2868172"/>
                <a:gd name="connsiteX70" fmla="*/ 4048389 w 12192000"/>
                <a:gd name="connsiteY70" fmla="*/ 176212 h 2868172"/>
                <a:gd name="connsiteX71" fmla="*/ 4116652 w 12192000"/>
                <a:gd name="connsiteY71" fmla="*/ 174625 h 2868172"/>
                <a:gd name="connsiteX72" fmla="*/ 4176977 w 12192000"/>
                <a:gd name="connsiteY72" fmla="*/ 166687 h 2868172"/>
                <a:gd name="connsiteX73" fmla="*/ 4229364 w 12192000"/>
                <a:gd name="connsiteY73" fmla="*/ 155575 h 2868172"/>
                <a:gd name="connsiteX74" fmla="*/ 4275402 w 12192000"/>
                <a:gd name="connsiteY74" fmla="*/ 141287 h 2868172"/>
                <a:gd name="connsiteX75" fmla="*/ 4316677 w 12192000"/>
                <a:gd name="connsiteY75" fmla="*/ 125412 h 2868172"/>
                <a:gd name="connsiteX76" fmla="*/ 4353189 w 12192000"/>
                <a:gd name="connsiteY76" fmla="*/ 106362 h 2868172"/>
                <a:gd name="connsiteX77" fmla="*/ 4429389 w 12192000"/>
                <a:gd name="connsiteY77" fmla="*/ 68262 h 2868172"/>
                <a:gd name="connsiteX78" fmla="*/ 4465902 w 12192000"/>
                <a:gd name="connsiteY78" fmla="*/ 52387 h 2868172"/>
                <a:gd name="connsiteX79" fmla="*/ 4507177 w 12192000"/>
                <a:gd name="connsiteY79" fmla="*/ 36512 h 2868172"/>
                <a:gd name="connsiteX80" fmla="*/ 4553215 w 12192000"/>
                <a:gd name="connsiteY80" fmla="*/ 20637 h 2868172"/>
                <a:gd name="connsiteX81" fmla="*/ 4605602 w 12192000"/>
                <a:gd name="connsiteY81" fmla="*/ 9525 h 2868172"/>
                <a:gd name="connsiteX82" fmla="*/ 4665928 w 12192000"/>
                <a:gd name="connsiteY82" fmla="*/ 3175 h 2868172"/>
                <a:gd name="connsiteX83" fmla="*/ 4734189 w 12192000"/>
                <a:gd name="connsiteY83" fmla="*/ 0 h 2868172"/>
                <a:gd name="connsiteX84" fmla="*/ 4802453 w 12192000"/>
                <a:gd name="connsiteY84" fmla="*/ 3175 h 2868172"/>
                <a:gd name="connsiteX85" fmla="*/ 4862777 w 12192000"/>
                <a:gd name="connsiteY85" fmla="*/ 9525 h 2868172"/>
                <a:gd name="connsiteX86" fmla="*/ 4915165 w 12192000"/>
                <a:gd name="connsiteY86" fmla="*/ 20637 h 2868172"/>
                <a:gd name="connsiteX87" fmla="*/ 4961201 w 12192000"/>
                <a:gd name="connsiteY87" fmla="*/ 36512 h 2868172"/>
                <a:gd name="connsiteX88" fmla="*/ 5002477 w 12192000"/>
                <a:gd name="connsiteY88" fmla="*/ 52387 h 2868172"/>
                <a:gd name="connsiteX89" fmla="*/ 5038989 w 12192000"/>
                <a:gd name="connsiteY89" fmla="*/ 68262 h 2868172"/>
                <a:gd name="connsiteX90" fmla="*/ 5077090 w 12192000"/>
                <a:gd name="connsiteY90" fmla="*/ 87312 h 2868172"/>
                <a:gd name="connsiteX91" fmla="*/ 5115189 w 12192000"/>
                <a:gd name="connsiteY91" fmla="*/ 106362 h 2868172"/>
                <a:gd name="connsiteX92" fmla="*/ 5151701 w 12192000"/>
                <a:gd name="connsiteY92" fmla="*/ 125412 h 2868172"/>
                <a:gd name="connsiteX93" fmla="*/ 5192977 w 12192000"/>
                <a:gd name="connsiteY93" fmla="*/ 141287 h 2868172"/>
                <a:gd name="connsiteX94" fmla="*/ 5239014 w 12192000"/>
                <a:gd name="connsiteY94" fmla="*/ 155575 h 2868172"/>
                <a:gd name="connsiteX95" fmla="*/ 5291401 w 12192000"/>
                <a:gd name="connsiteY95" fmla="*/ 166687 h 2868172"/>
                <a:gd name="connsiteX96" fmla="*/ 5351727 w 12192000"/>
                <a:gd name="connsiteY96" fmla="*/ 174625 h 2868172"/>
                <a:gd name="connsiteX97" fmla="*/ 5410199 w 12192000"/>
                <a:gd name="connsiteY97" fmla="*/ 175985 h 2868172"/>
                <a:gd name="connsiteX98" fmla="*/ 5468671 w 12192000"/>
                <a:gd name="connsiteY98" fmla="*/ 174625 h 2868172"/>
                <a:gd name="connsiteX99" fmla="*/ 5528996 w 12192000"/>
                <a:gd name="connsiteY99" fmla="*/ 166687 h 2868172"/>
                <a:gd name="connsiteX100" fmla="*/ 5581383 w 12192000"/>
                <a:gd name="connsiteY100" fmla="*/ 155575 h 2868172"/>
                <a:gd name="connsiteX101" fmla="*/ 5627421 w 12192000"/>
                <a:gd name="connsiteY101" fmla="*/ 141287 h 2868172"/>
                <a:gd name="connsiteX102" fmla="*/ 5668696 w 12192000"/>
                <a:gd name="connsiteY102" fmla="*/ 125412 h 2868172"/>
                <a:gd name="connsiteX103" fmla="*/ 5705209 w 12192000"/>
                <a:gd name="connsiteY103" fmla="*/ 106362 h 2868172"/>
                <a:gd name="connsiteX104" fmla="*/ 5743308 w 12192000"/>
                <a:gd name="connsiteY104" fmla="*/ 87312 h 2868172"/>
                <a:gd name="connsiteX105" fmla="*/ 5781408 w 12192000"/>
                <a:gd name="connsiteY105" fmla="*/ 68262 h 2868172"/>
                <a:gd name="connsiteX106" fmla="*/ 5817921 w 12192000"/>
                <a:gd name="connsiteY106" fmla="*/ 52387 h 2868172"/>
                <a:gd name="connsiteX107" fmla="*/ 5859196 w 12192000"/>
                <a:gd name="connsiteY107" fmla="*/ 36512 h 2868172"/>
                <a:gd name="connsiteX108" fmla="*/ 5905234 w 12192000"/>
                <a:gd name="connsiteY108" fmla="*/ 20637 h 2868172"/>
                <a:gd name="connsiteX109" fmla="*/ 5957621 w 12192000"/>
                <a:gd name="connsiteY109" fmla="*/ 9525 h 2868172"/>
                <a:gd name="connsiteX110" fmla="*/ 6017947 w 12192000"/>
                <a:gd name="connsiteY110" fmla="*/ 3175 h 2868172"/>
                <a:gd name="connsiteX111" fmla="*/ 6086209 w 12192000"/>
                <a:gd name="connsiteY111" fmla="*/ 0 h 2868172"/>
                <a:gd name="connsiteX112" fmla="*/ 6095999 w 12192000"/>
                <a:gd name="connsiteY112" fmla="*/ 455 h 2868172"/>
                <a:gd name="connsiteX113" fmla="*/ 6105789 w 12192000"/>
                <a:gd name="connsiteY113" fmla="*/ 0 h 2868172"/>
                <a:gd name="connsiteX114" fmla="*/ 6174052 w 12192000"/>
                <a:gd name="connsiteY114" fmla="*/ 3175 h 2868172"/>
                <a:gd name="connsiteX115" fmla="*/ 6234377 w 12192000"/>
                <a:gd name="connsiteY115" fmla="*/ 9525 h 2868172"/>
                <a:gd name="connsiteX116" fmla="*/ 6286764 w 12192000"/>
                <a:gd name="connsiteY116" fmla="*/ 20637 h 2868172"/>
                <a:gd name="connsiteX117" fmla="*/ 6332802 w 12192000"/>
                <a:gd name="connsiteY117" fmla="*/ 36512 h 2868172"/>
                <a:gd name="connsiteX118" fmla="*/ 6374077 w 12192000"/>
                <a:gd name="connsiteY118" fmla="*/ 52387 h 2868172"/>
                <a:gd name="connsiteX119" fmla="*/ 6410589 w 12192000"/>
                <a:gd name="connsiteY119" fmla="*/ 68262 h 2868172"/>
                <a:gd name="connsiteX120" fmla="*/ 6448689 w 12192000"/>
                <a:gd name="connsiteY120" fmla="*/ 87312 h 2868172"/>
                <a:gd name="connsiteX121" fmla="*/ 6486789 w 12192000"/>
                <a:gd name="connsiteY121" fmla="*/ 106362 h 2868172"/>
                <a:gd name="connsiteX122" fmla="*/ 6523302 w 12192000"/>
                <a:gd name="connsiteY122" fmla="*/ 125412 h 2868172"/>
                <a:gd name="connsiteX123" fmla="*/ 6564577 w 12192000"/>
                <a:gd name="connsiteY123" fmla="*/ 141287 h 2868172"/>
                <a:gd name="connsiteX124" fmla="*/ 6610614 w 12192000"/>
                <a:gd name="connsiteY124" fmla="*/ 155575 h 2868172"/>
                <a:gd name="connsiteX125" fmla="*/ 6663002 w 12192000"/>
                <a:gd name="connsiteY125" fmla="*/ 166687 h 2868172"/>
                <a:gd name="connsiteX126" fmla="*/ 6723327 w 12192000"/>
                <a:gd name="connsiteY126" fmla="*/ 174625 h 2868172"/>
                <a:gd name="connsiteX127" fmla="*/ 6781799 w 12192000"/>
                <a:gd name="connsiteY127" fmla="*/ 175985 h 2868172"/>
                <a:gd name="connsiteX128" fmla="*/ 6840271 w 12192000"/>
                <a:gd name="connsiteY128" fmla="*/ 174625 h 2868172"/>
                <a:gd name="connsiteX129" fmla="*/ 6900596 w 12192000"/>
                <a:gd name="connsiteY129" fmla="*/ 166687 h 2868172"/>
                <a:gd name="connsiteX130" fmla="*/ 6952983 w 12192000"/>
                <a:gd name="connsiteY130" fmla="*/ 155575 h 2868172"/>
                <a:gd name="connsiteX131" fmla="*/ 6999021 w 12192000"/>
                <a:gd name="connsiteY131" fmla="*/ 141287 h 2868172"/>
                <a:gd name="connsiteX132" fmla="*/ 7040296 w 12192000"/>
                <a:gd name="connsiteY132" fmla="*/ 125412 h 2868172"/>
                <a:gd name="connsiteX133" fmla="*/ 7076808 w 12192000"/>
                <a:gd name="connsiteY133" fmla="*/ 106362 h 2868172"/>
                <a:gd name="connsiteX134" fmla="*/ 7114908 w 12192000"/>
                <a:gd name="connsiteY134" fmla="*/ 87312 h 2868172"/>
                <a:gd name="connsiteX135" fmla="*/ 7153008 w 12192000"/>
                <a:gd name="connsiteY135" fmla="*/ 68262 h 2868172"/>
                <a:gd name="connsiteX136" fmla="*/ 7189521 w 12192000"/>
                <a:gd name="connsiteY136" fmla="*/ 52387 h 2868172"/>
                <a:gd name="connsiteX137" fmla="*/ 7230796 w 12192000"/>
                <a:gd name="connsiteY137" fmla="*/ 36512 h 2868172"/>
                <a:gd name="connsiteX138" fmla="*/ 7276833 w 12192000"/>
                <a:gd name="connsiteY138" fmla="*/ 20637 h 2868172"/>
                <a:gd name="connsiteX139" fmla="*/ 7329221 w 12192000"/>
                <a:gd name="connsiteY139" fmla="*/ 9525 h 2868172"/>
                <a:gd name="connsiteX140" fmla="*/ 7389546 w 12192000"/>
                <a:gd name="connsiteY140" fmla="*/ 3175 h 2868172"/>
                <a:gd name="connsiteX141" fmla="*/ 7457808 w 12192000"/>
                <a:gd name="connsiteY141" fmla="*/ 0 h 2868172"/>
                <a:gd name="connsiteX142" fmla="*/ 7526071 w 12192000"/>
                <a:gd name="connsiteY142" fmla="*/ 3175 h 2868172"/>
                <a:gd name="connsiteX143" fmla="*/ 7586396 w 12192000"/>
                <a:gd name="connsiteY143" fmla="*/ 9525 h 2868172"/>
                <a:gd name="connsiteX144" fmla="*/ 7638783 w 12192000"/>
                <a:gd name="connsiteY144" fmla="*/ 20637 h 2868172"/>
                <a:gd name="connsiteX145" fmla="*/ 7684821 w 12192000"/>
                <a:gd name="connsiteY145" fmla="*/ 36512 h 2868172"/>
                <a:gd name="connsiteX146" fmla="*/ 7726096 w 12192000"/>
                <a:gd name="connsiteY146" fmla="*/ 52387 h 2868172"/>
                <a:gd name="connsiteX147" fmla="*/ 7762608 w 12192000"/>
                <a:gd name="connsiteY147" fmla="*/ 68262 h 2868172"/>
                <a:gd name="connsiteX148" fmla="*/ 7800708 w 12192000"/>
                <a:gd name="connsiteY148" fmla="*/ 87312 h 2868172"/>
                <a:gd name="connsiteX149" fmla="*/ 7838808 w 12192000"/>
                <a:gd name="connsiteY149" fmla="*/ 106362 h 2868172"/>
                <a:gd name="connsiteX150" fmla="*/ 7875321 w 12192000"/>
                <a:gd name="connsiteY150" fmla="*/ 125412 h 2868172"/>
                <a:gd name="connsiteX151" fmla="*/ 7916596 w 12192000"/>
                <a:gd name="connsiteY151" fmla="*/ 141287 h 2868172"/>
                <a:gd name="connsiteX152" fmla="*/ 7962633 w 12192000"/>
                <a:gd name="connsiteY152" fmla="*/ 155575 h 2868172"/>
                <a:gd name="connsiteX153" fmla="*/ 8015021 w 12192000"/>
                <a:gd name="connsiteY153" fmla="*/ 166687 h 2868172"/>
                <a:gd name="connsiteX154" fmla="*/ 8075346 w 12192000"/>
                <a:gd name="connsiteY154" fmla="*/ 174625 h 2868172"/>
                <a:gd name="connsiteX155" fmla="*/ 8143608 w 12192000"/>
                <a:gd name="connsiteY155" fmla="*/ 176212 h 2868172"/>
                <a:gd name="connsiteX156" fmla="*/ 8211871 w 12192000"/>
                <a:gd name="connsiteY156" fmla="*/ 174625 h 2868172"/>
                <a:gd name="connsiteX157" fmla="*/ 8272196 w 12192000"/>
                <a:gd name="connsiteY157" fmla="*/ 166687 h 2868172"/>
                <a:gd name="connsiteX158" fmla="*/ 8324583 w 12192000"/>
                <a:gd name="connsiteY158" fmla="*/ 155575 h 2868172"/>
                <a:gd name="connsiteX159" fmla="*/ 8370621 w 12192000"/>
                <a:gd name="connsiteY159" fmla="*/ 141287 h 2868172"/>
                <a:gd name="connsiteX160" fmla="*/ 8411896 w 12192000"/>
                <a:gd name="connsiteY160" fmla="*/ 125412 h 2868172"/>
                <a:gd name="connsiteX161" fmla="*/ 8448408 w 12192000"/>
                <a:gd name="connsiteY161" fmla="*/ 106362 h 2868172"/>
                <a:gd name="connsiteX162" fmla="*/ 8486508 w 12192000"/>
                <a:gd name="connsiteY162" fmla="*/ 87312 h 2868172"/>
                <a:gd name="connsiteX163" fmla="*/ 8524608 w 12192000"/>
                <a:gd name="connsiteY163" fmla="*/ 68262 h 2868172"/>
                <a:gd name="connsiteX164" fmla="*/ 8561120 w 12192000"/>
                <a:gd name="connsiteY164" fmla="*/ 52387 h 2868172"/>
                <a:gd name="connsiteX165" fmla="*/ 8602396 w 12192000"/>
                <a:gd name="connsiteY165" fmla="*/ 36512 h 2868172"/>
                <a:gd name="connsiteX166" fmla="*/ 8648432 w 12192000"/>
                <a:gd name="connsiteY166" fmla="*/ 20637 h 2868172"/>
                <a:gd name="connsiteX167" fmla="*/ 8700820 w 12192000"/>
                <a:gd name="connsiteY167" fmla="*/ 9525 h 2868172"/>
                <a:gd name="connsiteX168" fmla="*/ 8761146 w 12192000"/>
                <a:gd name="connsiteY168" fmla="*/ 3175 h 2868172"/>
                <a:gd name="connsiteX169" fmla="*/ 8827820 w 12192000"/>
                <a:gd name="connsiteY169" fmla="*/ 0 h 2868172"/>
                <a:gd name="connsiteX170" fmla="*/ 8897670 w 12192000"/>
                <a:gd name="connsiteY170" fmla="*/ 3175 h 2868172"/>
                <a:gd name="connsiteX171" fmla="*/ 8957996 w 12192000"/>
                <a:gd name="connsiteY171" fmla="*/ 9525 h 2868172"/>
                <a:gd name="connsiteX172" fmla="*/ 9010382 w 12192000"/>
                <a:gd name="connsiteY172" fmla="*/ 20637 h 2868172"/>
                <a:gd name="connsiteX173" fmla="*/ 9056420 w 12192000"/>
                <a:gd name="connsiteY173" fmla="*/ 36512 h 2868172"/>
                <a:gd name="connsiteX174" fmla="*/ 9097696 w 12192000"/>
                <a:gd name="connsiteY174" fmla="*/ 52387 h 2868172"/>
                <a:gd name="connsiteX175" fmla="*/ 9134208 w 12192000"/>
                <a:gd name="connsiteY175" fmla="*/ 68262 h 2868172"/>
                <a:gd name="connsiteX176" fmla="*/ 9172308 w 12192000"/>
                <a:gd name="connsiteY176" fmla="*/ 87312 h 2868172"/>
                <a:gd name="connsiteX177" fmla="*/ 9210408 w 12192000"/>
                <a:gd name="connsiteY177" fmla="*/ 106362 h 2868172"/>
                <a:gd name="connsiteX178" fmla="*/ 9246920 w 12192000"/>
                <a:gd name="connsiteY178" fmla="*/ 125412 h 2868172"/>
                <a:gd name="connsiteX179" fmla="*/ 9288196 w 12192000"/>
                <a:gd name="connsiteY179" fmla="*/ 141287 h 2868172"/>
                <a:gd name="connsiteX180" fmla="*/ 9334232 w 12192000"/>
                <a:gd name="connsiteY180" fmla="*/ 155575 h 2868172"/>
                <a:gd name="connsiteX181" fmla="*/ 9386620 w 12192000"/>
                <a:gd name="connsiteY181" fmla="*/ 166687 h 2868172"/>
                <a:gd name="connsiteX182" fmla="*/ 9446946 w 12192000"/>
                <a:gd name="connsiteY182" fmla="*/ 174625 h 2868172"/>
                <a:gd name="connsiteX183" fmla="*/ 9515208 w 12192000"/>
                <a:gd name="connsiteY183" fmla="*/ 176212 h 2868172"/>
                <a:gd name="connsiteX184" fmla="*/ 9583470 w 12192000"/>
                <a:gd name="connsiteY184" fmla="*/ 174625 h 2868172"/>
                <a:gd name="connsiteX185" fmla="*/ 9643796 w 12192000"/>
                <a:gd name="connsiteY185" fmla="*/ 166687 h 2868172"/>
                <a:gd name="connsiteX186" fmla="*/ 9696182 w 12192000"/>
                <a:gd name="connsiteY186" fmla="*/ 155575 h 2868172"/>
                <a:gd name="connsiteX187" fmla="*/ 9742220 w 12192000"/>
                <a:gd name="connsiteY187" fmla="*/ 141287 h 2868172"/>
                <a:gd name="connsiteX188" fmla="*/ 9783496 w 12192000"/>
                <a:gd name="connsiteY188" fmla="*/ 125412 h 2868172"/>
                <a:gd name="connsiteX189" fmla="*/ 9820008 w 12192000"/>
                <a:gd name="connsiteY189" fmla="*/ 106362 h 2868172"/>
                <a:gd name="connsiteX190" fmla="*/ 9896208 w 12192000"/>
                <a:gd name="connsiteY190" fmla="*/ 68262 h 2868172"/>
                <a:gd name="connsiteX191" fmla="*/ 9932720 w 12192000"/>
                <a:gd name="connsiteY191" fmla="*/ 52387 h 2868172"/>
                <a:gd name="connsiteX192" fmla="*/ 9973996 w 12192000"/>
                <a:gd name="connsiteY192" fmla="*/ 36512 h 2868172"/>
                <a:gd name="connsiteX193" fmla="*/ 10020032 w 12192000"/>
                <a:gd name="connsiteY193" fmla="*/ 20637 h 2868172"/>
                <a:gd name="connsiteX194" fmla="*/ 10072420 w 12192000"/>
                <a:gd name="connsiteY194" fmla="*/ 9525 h 2868172"/>
                <a:gd name="connsiteX195" fmla="*/ 10132746 w 12192000"/>
                <a:gd name="connsiteY195" fmla="*/ 3175 h 2868172"/>
                <a:gd name="connsiteX196" fmla="*/ 10201008 w 12192000"/>
                <a:gd name="connsiteY196" fmla="*/ 0 h 2868172"/>
                <a:gd name="connsiteX197" fmla="*/ 10269270 w 12192000"/>
                <a:gd name="connsiteY197" fmla="*/ 3175 h 2868172"/>
                <a:gd name="connsiteX198" fmla="*/ 10329596 w 12192000"/>
                <a:gd name="connsiteY198" fmla="*/ 9525 h 2868172"/>
                <a:gd name="connsiteX199" fmla="*/ 10381982 w 12192000"/>
                <a:gd name="connsiteY199" fmla="*/ 20637 h 2868172"/>
                <a:gd name="connsiteX200" fmla="*/ 10428020 w 12192000"/>
                <a:gd name="connsiteY200" fmla="*/ 36512 h 2868172"/>
                <a:gd name="connsiteX201" fmla="*/ 10469296 w 12192000"/>
                <a:gd name="connsiteY201" fmla="*/ 52387 h 2868172"/>
                <a:gd name="connsiteX202" fmla="*/ 10505808 w 12192000"/>
                <a:gd name="connsiteY202" fmla="*/ 68262 h 2868172"/>
                <a:gd name="connsiteX203" fmla="*/ 10543908 w 12192000"/>
                <a:gd name="connsiteY203" fmla="*/ 87312 h 2868172"/>
                <a:gd name="connsiteX204" fmla="*/ 10582008 w 12192000"/>
                <a:gd name="connsiteY204" fmla="*/ 106362 h 2868172"/>
                <a:gd name="connsiteX205" fmla="*/ 10618520 w 12192000"/>
                <a:gd name="connsiteY205" fmla="*/ 125412 h 2868172"/>
                <a:gd name="connsiteX206" fmla="*/ 10659796 w 12192000"/>
                <a:gd name="connsiteY206" fmla="*/ 141287 h 2868172"/>
                <a:gd name="connsiteX207" fmla="*/ 10705832 w 12192000"/>
                <a:gd name="connsiteY207" fmla="*/ 155575 h 2868172"/>
                <a:gd name="connsiteX208" fmla="*/ 10758220 w 12192000"/>
                <a:gd name="connsiteY208" fmla="*/ 166687 h 2868172"/>
                <a:gd name="connsiteX209" fmla="*/ 10818546 w 12192000"/>
                <a:gd name="connsiteY209" fmla="*/ 174625 h 2868172"/>
                <a:gd name="connsiteX210" fmla="*/ 10886808 w 12192000"/>
                <a:gd name="connsiteY210" fmla="*/ 176212 h 2868172"/>
                <a:gd name="connsiteX211" fmla="*/ 10955070 w 12192000"/>
                <a:gd name="connsiteY211" fmla="*/ 174625 h 2868172"/>
                <a:gd name="connsiteX212" fmla="*/ 11015396 w 12192000"/>
                <a:gd name="connsiteY212" fmla="*/ 166687 h 2868172"/>
                <a:gd name="connsiteX213" fmla="*/ 11067782 w 12192000"/>
                <a:gd name="connsiteY213" fmla="*/ 155575 h 2868172"/>
                <a:gd name="connsiteX214" fmla="*/ 11113820 w 12192000"/>
                <a:gd name="connsiteY214" fmla="*/ 141287 h 2868172"/>
                <a:gd name="connsiteX215" fmla="*/ 11155096 w 12192000"/>
                <a:gd name="connsiteY215" fmla="*/ 125412 h 2868172"/>
                <a:gd name="connsiteX216" fmla="*/ 11191608 w 12192000"/>
                <a:gd name="connsiteY216" fmla="*/ 106362 h 2868172"/>
                <a:gd name="connsiteX217" fmla="*/ 11229708 w 12192000"/>
                <a:gd name="connsiteY217" fmla="*/ 87312 h 2868172"/>
                <a:gd name="connsiteX218" fmla="*/ 11267808 w 12192000"/>
                <a:gd name="connsiteY218" fmla="*/ 68262 h 2868172"/>
                <a:gd name="connsiteX219" fmla="*/ 11304320 w 12192000"/>
                <a:gd name="connsiteY219" fmla="*/ 52387 h 2868172"/>
                <a:gd name="connsiteX220" fmla="*/ 11345596 w 12192000"/>
                <a:gd name="connsiteY220" fmla="*/ 36512 h 2868172"/>
                <a:gd name="connsiteX221" fmla="*/ 11391632 w 12192000"/>
                <a:gd name="connsiteY221" fmla="*/ 20637 h 2868172"/>
                <a:gd name="connsiteX222" fmla="*/ 11444020 w 12192000"/>
                <a:gd name="connsiteY222" fmla="*/ 9525 h 2868172"/>
                <a:gd name="connsiteX223" fmla="*/ 11504346 w 12192000"/>
                <a:gd name="connsiteY223" fmla="*/ 3175 h 2868172"/>
                <a:gd name="connsiteX224" fmla="*/ 11572608 w 12192000"/>
                <a:gd name="connsiteY224" fmla="*/ 0 h 2868172"/>
                <a:gd name="connsiteX225" fmla="*/ 11640870 w 12192000"/>
                <a:gd name="connsiteY225" fmla="*/ 3175 h 2868172"/>
                <a:gd name="connsiteX226" fmla="*/ 11701196 w 12192000"/>
                <a:gd name="connsiteY226" fmla="*/ 9525 h 2868172"/>
                <a:gd name="connsiteX227" fmla="*/ 11753582 w 12192000"/>
                <a:gd name="connsiteY227" fmla="*/ 20637 h 2868172"/>
                <a:gd name="connsiteX228" fmla="*/ 11799620 w 12192000"/>
                <a:gd name="connsiteY228" fmla="*/ 36512 h 2868172"/>
                <a:gd name="connsiteX229" fmla="*/ 11840896 w 12192000"/>
                <a:gd name="connsiteY229" fmla="*/ 52387 h 2868172"/>
                <a:gd name="connsiteX230" fmla="*/ 11877408 w 12192000"/>
                <a:gd name="connsiteY230" fmla="*/ 68262 h 2868172"/>
                <a:gd name="connsiteX231" fmla="*/ 11915508 w 12192000"/>
                <a:gd name="connsiteY231" fmla="*/ 87312 h 2868172"/>
                <a:gd name="connsiteX232" fmla="*/ 11953608 w 12192000"/>
                <a:gd name="connsiteY232" fmla="*/ 106362 h 2868172"/>
                <a:gd name="connsiteX233" fmla="*/ 11990120 w 12192000"/>
                <a:gd name="connsiteY233" fmla="*/ 125412 h 2868172"/>
                <a:gd name="connsiteX234" fmla="*/ 12031396 w 12192000"/>
                <a:gd name="connsiteY234" fmla="*/ 141287 h 2868172"/>
                <a:gd name="connsiteX235" fmla="*/ 12077432 w 12192000"/>
                <a:gd name="connsiteY235" fmla="*/ 155575 h 2868172"/>
                <a:gd name="connsiteX236" fmla="*/ 12129820 w 12192000"/>
                <a:gd name="connsiteY236" fmla="*/ 166688 h 2868172"/>
                <a:gd name="connsiteX237" fmla="*/ 12190146 w 12192000"/>
                <a:gd name="connsiteY237" fmla="*/ 174625 h 2868172"/>
                <a:gd name="connsiteX238" fmla="*/ 12192000 w 12192000"/>
                <a:gd name="connsiteY238" fmla="*/ 174668 h 2868172"/>
                <a:gd name="connsiteX239" fmla="*/ 12192000 w 12192000"/>
                <a:gd name="connsiteY239" fmla="*/ 319047 h 2868172"/>
                <a:gd name="connsiteX240" fmla="*/ 12192000 w 12192000"/>
                <a:gd name="connsiteY240" fmla="*/ 885826 h 2868172"/>
                <a:gd name="connsiteX241" fmla="*/ 12192000 w 12192000"/>
                <a:gd name="connsiteY241" fmla="*/ 1030205 h 2868172"/>
                <a:gd name="connsiteX242" fmla="*/ 12192000 w 12192000"/>
                <a:gd name="connsiteY242" fmla="*/ 1553722 h 2868172"/>
                <a:gd name="connsiteX243" fmla="*/ 12192000 w 12192000"/>
                <a:gd name="connsiteY243" fmla="*/ 1787292 h 2868172"/>
                <a:gd name="connsiteX244" fmla="*/ 12192000 w 12192000"/>
                <a:gd name="connsiteY244" fmla="*/ 1931671 h 2868172"/>
                <a:gd name="connsiteX245" fmla="*/ 12192000 w 12192000"/>
                <a:gd name="connsiteY245" fmla="*/ 2868172 h 2868172"/>
                <a:gd name="connsiteX246" fmla="*/ 12191997 w 12192000"/>
                <a:gd name="connsiteY246" fmla="*/ 2868172 h 2868172"/>
                <a:gd name="connsiteX247" fmla="*/ 1 w 12192000"/>
                <a:gd name="connsiteY247" fmla="*/ 2868172 h 2868172"/>
                <a:gd name="connsiteX248" fmla="*/ 0 w 12192000"/>
                <a:gd name="connsiteY248" fmla="*/ 2868172 h 2868172"/>
                <a:gd name="connsiteX249" fmla="*/ 0 w 12192000"/>
                <a:gd name="connsiteY249" fmla="*/ 1931671 h 2868172"/>
                <a:gd name="connsiteX250" fmla="*/ 0 w 12192000"/>
                <a:gd name="connsiteY250" fmla="*/ 1787292 h 2868172"/>
                <a:gd name="connsiteX251" fmla="*/ 0 w 12192000"/>
                <a:gd name="connsiteY251" fmla="*/ 1553722 h 2868172"/>
                <a:gd name="connsiteX252" fmla="*/ 0 w 12192000"/>
                <a:gd name="connsiteY252" fmla="*/ 1030205 h 2868172"/>
                <a:gd name="connsiteX253" fmla="*/ 0 w 12192000"/>
                <a:gd name="connsiteY253" fmla="*/ 885826 h 2868172"/>
                <a:gd name="connsiteX254" fmla="*/ 0 w 12192000"/>
                <a:gd name="connsiteY254" fmla="*/ 319047 h 2868172"/>
                <a:gd name="connsiteX255" fmla="*/ 0 w 12192000"/>
                <a:gd name="connsiteY255" fmla="*/ 174668 h 2868172"/>
                <a:gd name="connsiteX256" fmla="*/ 1852 w 12192000"/>
                <a:gd name="connsiteY256" fmla="*/ 174625 h 2868172"/>
                <a:gd name="connsiteX257" fmla="*/ 62177 w 12192000"/>
                <a:gd name="connsiteY257" fmla="*/ 166687 h 2868172"/>
                <a:gd name="connsiteX258" fmla="*/ 114564 w 12192000"/>
                <a:gd name="connsiteY258" fmla="*/ 155575 h 2868172"/>
                <a:gd name="connsiteX259" fmla="*/ 160602 w 12192000"/>
                <a:gd name="connsiteY259" fmla="*/ 141287 h 2868172"/>
                <a:gd name="connsiteX260" fmla="*/ 201877 w 12192000"/>
                <a:gd name="connsiteY260" fmla="*/ 125412 h 2868172"/>
                <a:gd name="connsiteX261" fmla="*/ 238389 w 12192000"/>
                <a:gd name="connsiteY261" fmla="*/ 106362 h 2868172"/>
                <a:gd name="connsiteX262" fmla="*/ 276489 w 12192000"/>
                <a:gd name="connsiteY262" fmla="*/ 87312 h 2868172"/>
                <a:gd name="connsiteX263" fmla="*/ 314589 w 12192000"/>
                <a:gd name="connsiteY263" fmla="*/ 68262 h 2868172"/>
                <a:gd name="connsiteX264" fmla="*/ 351102 w 12192000"/>
                <a:gd name="connsiteY264" fmla="*/ 52387 h 2868172"/>
                <a:gd name="connsiteX265" fmla="*/ 392377 w 12192000"/>
                <a:gd name="connsiteY265" fmla="*/ 36512 h 2868172"/>
                <a:gd name="connsiteX266" fmla="*/ 438414 w 12192000"/>
                <a:gd name="connsiteY266" fmla="*/ 20637 h 2868172"/>
                <a:gd name="connsiteX267" fmla="*/ 490802 w 12192000"/>
                <a:gd name="connsiteY267" fmla="*/ 9525 h 2868172"/>
                <a:gd name="connsiteX268" fmla="*/ 551127 w 12192000"/>
                <a:gd name="connsiteY268" fmla="*/ 3175 h 286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2192000" h="2868172">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7"/>
                  </a:lnTo>
                  <a:lnTo>
                    <a:pt x="12192000" y="885826"/>
                  </a:lnTo>
                  <a:lnTo>
                    <a:pt x="12192000" y="1030205"/>
                  </a:lnTo>
                  <a:lnTo>
                    <a:pt x="12192000" y="1553722"/>
                  </a:lnTo>
                  <a:lnTo>
                    <a:pt x="12192000" y="1787292"/>
                  </a:lnTo>
                  <a:lnTo>
                    <a:pt x="12192000" y="1931671"/>
                  </a:lnTo>
                  <a:lnTo>
                    <a:pt x="12192000" y="2868172"/>
                  </a:lnTo>
                  <a:lnTo>
                    <a:pt x="12191997" y="2868172"/>
                  </a:lnTo>
                  <a:lnTo>
                    <a:pt x="1" y="2868172"/>
                  </a:lnTo>
                  <a:lnTo>
                    <a:pt x="0" y="2868172"/>
                  </a:lnTo>
                  <a:lnTo>
                    <a:pt x="0" y="1931671"/>
                  </a:lnTo>
                  <a:lnTo>
                    <a:pt x="0" y="1787292"/>
                  </a:lnTo>
                  <a:lnTo>
                    <a:pt x="0" y="1553722"/>
                  </a:lnTo>
                  <a:lnTo>
                    <a:pt x="0" y="1030205"/>
                  </a:lnTo>
                  <a:lnTo>
                    <a:pt x="0" y="885826"/>
                  </a:lnTo>
                  <a:lnTo>
                    <a:pt x="0" y="319047"/>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7A502461-DBD9-4B84-92C9-8D95C948DE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845450"/>
              <a:ext cx="12192000" cy="3012550"/>
            </a:xfrm>
            <a:custGeom>
              <a:avLst/>
              <a:gdLst>
                <a:gd name="connsiteX0" fmla="*/ 619389 w 12192000"/>
                <a:gd name="connsiteY0" fmla="*/ 0 h 3012550"/>
                <a:gd name="connsiteX1" fmla="*/ 687652 w 12192000"/>
                <a:gd name="connsiteY1" fmla="*/ 3175 h 3012550"/>
                <a:gd name="connsiteX2" fmla="*/ 747977 w 12192000"/>
                <a:gd name="connsiteY2" fmla="*/ 9525 h 3012550"/>
                <a:gd name="connsiteX3" fmla="*/ 800364 w 12192000"/>
                <a:gd name="connsiteY3" fmla="*/ 20637 h 3012550"/>
                <a:gd name="connsiteX4" fmla="*/ 846402 w 12192000"/>
                <a:gd name="connsiteY4" fmla="*/ 36512 h 3012550"/>
                <a:gd name="connsiteX5" fmla="*/ 887677 w 12192000"/>
                <a:gd name="connsiteY5" fmla="*/ 52387 h 3012550"/>
                <a:gd name="connsiteX6" fmla="*/ 924189 w 12192000"/>
                <a:gd name="connsiteY6" fmla="*/ 68262 h 3012550"/>
                <a:gd name="connsiteX7" fmla="*/ 962289 w 12192000"/>
                <a:gd name="connsiteY7" fmla="*/ 87312 h 3012550"/>
                <a:gd name="connsiteX8" fmla="*/ 1000389 w 12192000"/>
                <a:gd name="connsiteY8" fmla="*/ 106362 h 3012550"/>
                <a:gd name="connsiteX9" fmla="*/ 1036902 w 12192000"/>
                <a:gd name="connsiteY9" fmla="*/ 125412 h 3012550"/>
                <a:gd name="connsiteX10" fmla="*/ 1078177 w 12192000"/>
                <a:gd name="connsiteY10" fmla="*/ 141287 h 3012550"/>
                <a:gd name="connsiteX11" fmla="*/ 1124214 w 12192000"/>
                <a:gd name="connsiteY11" fmla="*/ 155575 h 3012550"/>
                <a:gd name="connsiteX12" fmla="*/ 1176602 w 12192000"/>
                <a:gd name="connsiteY12" fmla="*/ 166687 h 3012550"/>
                <a:gd name="connsiteX13" fmla="*/ 1236927 w 12192000"/>
                <a:gd name="connsiteY13" fmla="*/ 174625 h 3012550"/>
                <a:gd name="connsiteX14" fmla="*/ 1305189 w 12192000"/>
                <a:gd name="connsiteY14" fmla="*/ 176212 h 3012550"/>
                <a:gd name="connsiteX15" fmla="*/ 1373452 w 12192000"/>
                <a:gd name="connsiteY15" fmla="*/ 174625 h 3012550"/>
                <a:gd name="connsiteX16" fmla="*/ 1433777 w 12192000"/>
                <a:gd name="connsiteY16" fmla="*/ 166687 h 3012550"/>
                <a:gd name="connsiteX17" fmla="*/ 1486164 w 12192000"/>
                <a:gd name="connsiteY17" fmla="*/ 155575 h 3012550"/>
                <a:gd name="connsiteX18" fmla="*/ 1532202 w 12192000"/>
                <a:gd name="connsiteY18" fmla="*/ 141287 h 3012550"/>
                <a:gd name="connsiteX19" fmla="*/ 1573477 w 12192000"/>
                <a:gd name="connsiteY19" fmla="*/ 125412 h 3012550"/>
                <a:gd name="connsiteX20" fmla="*/ 1609989 w 12192000"/>
                <a:gd name="connsiteY20" fmla="*/ 106362 h 3012550"/>
                <a:gd name="connsiteX21" fmla="*/ 1648089 w 12192000"/>
                <a:gd name="connsiteY21" fmla="*/ 87312 h 3012550"/>
                <a:gd name="connsiteX22" fmla="*/ 1686189 w 12192000"/>
                <a:gd name="connsiteY22" fmla="*/ 68262 h 3012550"/>
                <a:gd name="connsiteX23" fmla="*/ 1722702 w 12192000"/>
                <a:gd name="connsiteY23" fmla="*/ 52387 h 3012550"/>
                <a:gd name="connsiteX24" fmla="*/ 1763977 w 12192000"/>
                <a:gd name="connsiteY24" fmla="*/ 36512 h 3012550"/>
                <a:gd name="connsiteX25" fmla="*/ 1810014 w 12192000"/>
                <a:gd name="connsiteY25" fmla="*/ 20637 h 3012550"/>
                <a:gd name="connsiteX26" fmla="*/ 1862402 w 12192000"/>
                <a:gd name="connsiteY26" fmla="*/ 9525 h 3012550"/>
                <a:gd name="connsiteX27" fmla="*/ 1922727 w 12192000"/>
                <a:gd name="connsiteY27" fmla="*/ 3175 h 3012550"/>
                <a:gd name="connsiteX28" fmla="*/ 1990989 w 12192000"/>
                <a:gd name="connsiteY28" fmla="*/ 0 h 3012550"/>
                <a:gd name="connsiteX29" fmla="*/ 2059252 w 12192000"/>
                <a:gd name="connsiteY29" fmla="*/ 3175 h 3012550"/>
                <a:gd name="connsiteX30" fmla="*/ 2119577 w 12192000"/>
                <a:gd name="connsiteY30" fmla="*/ 9525 h 3012550"/>
                <a:gd name="connsiteX31" fmla="*/ 2171964 w 12192000"/>
                <a:gd name="connsiteY31" fmla="*/ 20637 h 3012550"/>
                <a:gd name="connsiteX32" fmla="*/ 2218002 w 12192000"/>
                <a:gd name="connsiteY32" fmla="*/ 36512 h 3012550"/>
                <a:gd name="connsiteX33" fmla="*/ 2259277 w 12192000"/>
                <a:gd name="connsiteY33" fmla="*/ 52387 h 3012550"/>
                <a:gd name="connsiteX34" fmla="*/ 2295789 w 12192000"/>
                <a:gd name="connsiteY34" fmla="*/ 68262 h 3012550"/>
                <a:gd name="connsiteX35" fmla="*/ 2333889 w 12192000"/>
                <a:gd name="connsiteY35" fmla="*/ 87312 h 3012550"/>
                <a:gd name="connsiteX36" fmla="*/ 2371989 w 12192000"/>
                <a:gd name="connsiteY36" fmla="*/ 106362 h 3012550"/>
                <a:gd name="connsiteX37" fmla="*/ 2408502 w 12192000"/>
                <a:gd name="connsiteY37" fmla="*/ 125412 h 3012550"/>
                <a:gd name="connsiteX38" fmla="*/ 2449777 w 12192000"/>
                <a:gd name="connsiteY38" fmla="*/ 141287 h 3012550"/>
                <a:gd name="connsiteX39" fmla="*/ 2495814 w 12192000"/>
                <a:gd name="connsiteY39" fmla="*/ 155575 h 3012550"/>
                <a:gd name="connsiteX40" fmla="*/ 2548202 w 12192000"/>
                <a:gd name="connsiteY40" fmla="*/ 166687 h 3012550"/>
                <a:gd name="connsiteX41" fmla="*/ 2608527 w 12192000"/>
                <a:gd name="connsiteY41" fmla="*/ 174625 h 3012550"/>
                <a:gd name="connsiteX42" fmla="*/ 2676789 w 12192000"/>
                <a:gd name="connsiteY42" fmla="*/ 176212 h 3012550"/>
                <a:gd name="connsiteX43" fmla="*/ 2745052 w 12192000"/>
                <a:gd name="connsiteY43" fmla="*/ 174625 h 3012550"/>
                <a:gd name="connsiteX44" fmla="*/ 2805377 w 12192000"/>
                <a:gd name="connsiteY44" fmla="*/ 166687 h 3012550"/>
                <a:gd name="connsiteX45" fmla="*/ 2857764 w 12192000"/>
                <a:gd name="connsiteY45" fmla="*/ 155575 h 3012550"/>
                <a:gd name="connsiteX46" fmla="*/ 2903802 w 12192000"/>
                <a:gd name="connsiteY46" fmla="*/ 141287 h 3012550"/>
                <a:gd name="connsiteX47" fmla="*/ 2945077 w 12192000"/>
                <a:gd name="connsiteY47" fmla="*/ 125412 h 3012550"/>
                <a:gd name="connsiteX48" fmla="*/ 2981589 w 12192000"/>
                <a:gd name="connsiteY48" fmla="*/ 106362 h 3012550"/>
                <a:gd name="connsiteX49" fmla="*/ 3019689 w 12192000"/>
                <a:gd name="connsiteY49" fmla="*/ 87312 h 3012550"/>
                <a:gd name="connsiteX50" fmla="*/ 3057789 w 12192000"/>
                <a:gd name="connsiteY50" fmla="*/ 68262 h 3012550"/>
                <a:gd name="connsiteX51" fmla="*/ 3094302 w 12192000"/>
                <a:gd name="connsiteY51" fmla="*/ 52387 h 3012550"/>
                <a:gd name="connsiteX52" fmla="*/ 3135577 w 12192000"/>
                <a:gd name="connsiteY52" fmla="*/ 36512 h 3012550"/>
                <a:gd name="connsiteX53" fmla="*/ 3181614 w 12192000"/>
                <a:gd name="connsiteY53" fmla="*/ 20637 h 3012550"/>
                <a:gd name="connsiteX54" fmla="*/ 3234002 w 12192000"/>
                <a:gd name="connsiteY54" fmla="*/ 9525 h 3012550"/>
                <a:gd name="connsiteX55" fmla="*/ 3294327 w 12192000"/>
                <a:gd name="connsiteY55" fmla="*/ 3175 h 3012550"/>
                <a:gd name="connsiteX56" fmla="*/ 3361002 w 12192000"/>
                <a:gd name="connsiteY56" fmla="*/ 0 h 3012550"/>
                <a:gd name="connsiteX57" fmla="*/ 3430852 w 12192000"/>
                <a:gd name="connsiteY57" fmla="*/ 3175 h 3012550"/>
                <a:gd name="connsiteX58" fmla="*/ 3491177 w 12192000"/>
                <a:gd name="connsiteY58" fmla="*/ 9525 h 3012550"/>
                <a:gd name="connsiteX59" fmla="*/ 3543564 w 12192000"/>
                <a:gd name="connsiteY59" fmla="*/ 20637 h 3012550"/>
                <a:gd name="connsiteX60" fmla="*/ 3589602 w 12192000"/>
                <a:gd name="connsiteY60" fmla="*/ 36512 h 3012550"/>
                <a:gd name="connsiteX61" fmla="*/ 3630877 w 12192000"/>
                <a:gd name="connsiteY61" fmla="*/ 52387 h 3012550"/>
                <a:gd name="connsiteX62" fmla="*/ 3667389 w 12192000"/>
                <a:gd name="connsiteY62" fmla="*/ 68262 h 3012550"/>
                <a:gd name="connsiteX63" fmla="*/ 3705489 w 12192000"/>
                <a:gd name="connsiteY63" fmla="*/ 87312 h 3012550"/>
                <a:gd name="connsiteX64" fmla="*/ 3743589 w 12192000"/>
                <a:gd name="connsiteY64" fmla="*/ 106362 h 3012550"/>
                <a:gd name="connsiteX65" fmla="*/ 3780102 w 12192000"/>
                <a:gd name="connsiteY65" fmla="*/ 125412 h 3012550"/>
                <a:gd name="connsiteX66" fmla="*/ 3821377 w 12192000"/>
                <a:gd name="connsiteY66" fmla="*/ 141287 h 3012550"/>
                <a:gd name="connsiteX67" fmla="*/ 3867414 w 12192000"/>
                <a:gd name="connsiteY67" fmla="*/ 155575 h 3012550"/>
                <a:gd name="connsiteX68" fmla="*/ 3919802 w 12192000"/>
                <a:gd name="connsiteY68" fmla="*/ 166687 h 3012550"/>
                <a:gd name="connsiteX69" fmla="*/ 3980127 w 12192000"/>
                <a:gd name="connsiteY69" fmla="*/ 174625 h 3012550"/>
                <a:gd name="connsiteX70" fmla="*/ 4048389 w 12192000"/>
                <a:gd name="connsiteY70" fmla="*/ 176212 h 3012550"/>
                <a:gd name="connsiteX71" fmla="*/ 4116652 w 12192000"/>
                <a:gd name="connsiteY71" fmla="*/ 174625 h 3012550"/>
                <a:gd name="connsiteX72" fmla="*/ 4176977 w 12192000"/>
                <a:gd name="connsiteY72" fmla="*/ 166687 h 3012550"/>
                <a:gd name="connsiteX73" fmla="*/ 4229364 w 12192000"/>
                <a:gd name="connsiteY73" fmla="*/ 155575 h 3012550"/>
                <a:gd name="connsiteX74" fmla="*/ 4275402 w 12192000"/>
                <a:gd name="connsiteY74" fmla="*/ 141287 h 3012550"/>
                <a:gd name="connsiteX75" fmla="*/ 4316677 w 12192000"/>
                <a:gd name="connsiteY75" fmla="*/ 125412 h 3012550"/>
                <a:gd name="connsiteX76" fmla="*/ 4353189 w 12192000"/>
                <a:gd name="connsiteY76" fmla="*/ 106362 h 3012550"/>
                <a:gd name="connsiteX77" fmla="*/ 4429389 w 12192000"/>
                <a:gd name="connsiteY77" fmla="*/ 68262 h 3012550"/>
                <a:gd name="connsiteX78" fmla="*/ 4465902 w 12192000"/>
                <a:gd name="connsiteY78" fmla="*/ 52387 h 3012550"/>
                <a:gd name="connsiteX79" fmla="*/ 4507177 w 12192000"/>
                <a:gd name="connsiteY79" fmla="*/ 36512 h 3012550"/>
                <a:gd name="connsiteX80" fmla="*/ 4553215 w 12192000"/>
                <a:gd name="connsiteY80" fmla="*/ 20637 h 3012550"/>
                <a:gd name="connsiteX81" fmla="*/ 4605602 w 12192000"/>
                <a:gd name="connsiteY81" fmla="*/ 9525 h 3012550"/>
                <a:gd name="connsiteX82" fmla="*/ 4665928 w 12192000"/>
                <a:gd name="connsiteY82" fmla="*/ 3175 h 3012550"/>
                <a:gd name="connsiteX83" fmla="*/ 4734189 w 12192000"/>
                <a:gd name="connsiteY83" fmla="*/ 0 h 3012550"/>
                <a:gd name="connsiteX84" fmla="*/ 4802453 w 12192000"/>
                <a:gd name="connsiteY84" fmla="*/ 3175 h 3012550"/>
                <a:gd name="connsiteX85" fmla="*/ 4862777 w 12192000"/>
                <a:gd name="connsiteY85" fmla="*/ 9525 h 3012550"/>
                <a:gd name="connsiteX86" fmla="*/ 4915165 w 12192000"/>
                <a:gd name="connsiteY86" fmla="*/ 20637 h 3012550"/>
                <a:gd name="connsiteX87" fmla="*/ 4961201 w 12192000"/>
                <a:gd name="connsiteY87" fmla="*/ 36512 h 3012550"/>
                <a:gd name="connsiteX88" fmla="*/ 5002477 w 12192000"/>
                <a:gd name="connsiteY88" fmla="*/ 52387 h 3012550"/>
                <a:gd name="connsiteX89" fmla="*/ 5038989 w 12192000"/>
                <a:gd name="connsiteY89" fmla="*/ 68262 h 3012550"/>
                <a:gd name="connsiteX90" fmla="*/ 5077090 w 12192000"/>
                <a:gd name="connsiteY90" fmla="*/ 87312 h 3012550"/>
                <a:gd name="connsiteX91" fmla="*/ 5115189 w 12192000"/>
                <a:gd name="connsiteY91" fmla="*/ 106362 h 3012550"/>
                <a:gd name="connsiteX92" fmla="*/ 5151701 w 12192000"/>
                <a:gd name="connsiteY92" fmla="*/ 125412 h 3012550"/>
                <a:gd name="connsiteX93" fmla="*/ 5192977 w 12192000"/>
                <a:gd name="connsiteY93" fmla="*/ 141287 h 3012550"/>
                <a:gd name="connsiteX94" fmla="*/ 5239014 w 12192000"/>
                <a:gd name="connsiteY94" fmla="*/ 155575 h 3012550"/>
                <a:gd name="connsiteX95" fmla="*/ 5291401 w 12192000"/>
                <a:gd name="connsiteY95" fmla="*/ 166687 h 3012550"/>
                <a:gd name="connsiteX96" fmla="*/ 5351727 w 12192000"/>
                <a:gd name="connsiteY96" fmla="*/ 174625 h 3012550"/>
                <a:gd name="connsiteX97" fmla="*/ 5410199 w 12192000"/>
                <a:gd name="connsiteY97" fmla="*/ 175985 h 3012550"/>
                <a:gd name="connsiteX98" fmla="*/ 5468671 w 12192000"/>
                <a:gd name="connsiteY98" fmla="*/ 174625 h 3012550"/>
                <a:gd name="connsiteX99" fmla="*/ 5528996 w 12192000"/>
                <a:gd name="connsiteY99" fmla="*/ 166687 h 3012550"/>
                <a:gd name="connsiteX100" fmla="*/ 5581383 w 12192000"/>
                <a:gd name="connsiteY100" fmla="*/ 155575 h 3012550"/>
                <a:gd name="connsiteX101" fmla="*/ 5627421 w 12192000"/>
                <a:gd name="connsiteY101" fmla="*/ 141287 h 3012550"/>
                <a:gd name="connsiteX102" fmla="*/ 5668696 w 12192000"/>
                <a:gd name="connsiteY102" fmla="*/ 125412 h 3012550"/>
                <a:gd name="connsiteX103" fmla="*/ 5705209 w 12192000"/>
                <a:gd name="connsiteY103" fmla="*/ 106362 h 3012550"/>
                <a:gd name="connsiteX104" fmla="*/ 5743308 w 12192000"/>
                <a:gd name="connsiteY104" fmla="*/ 87312 h 3012550"/>
                <a:gd name="connsiteX105" fmla="*/ 5781408 w 12192000"/>
                <a:gd name="connsiteY105" fmla="*/ 68262 h 3012550"/>
                <a:gd name="connsiteX106" fmla="*/ 5817921 w 12192000"/>
                <a:gd name="connsiteY106" fmla="*/ 52387 h 3012550"/>
                <a:gd name="connsiteX107" fmla="*/ 5859196 w 12192000"/>
                <a:gd name="connsiteY107" fmla="*/ 36512 h 3012550"/>
                <a:gd name="connsiteX108" fmla="*/ 5905234 w 12192000"/>
                <a:gd name="connsiteY108" fmla="*/ 20637 h 3012550"/>
                <a:gd name="connsiteX109" fmla="*/ 5957621 w 12192000"/>
                <a:gd name="connsiteY109" fmla="*/ 9525 h 3012550"/>
                <a:gd name="connsiteX110" fmla="*/ 6017947 w 12192000"/>
                <a:gd name="connsiteY110" fmla="*/ 3175 h 3012550"/>
                <a:gd name="connsiteX111" fmla="*/ 6086209 w 12192000"/>
                <a:gd name="connsiteY111" fmla="*/ 0 h 3012550"/>
                <a:gd name="connsiteX112" fmla="*/ 6095999 w 12192000"/>
                <a:gd name="connsiteY112" fmla="*/ 455 h 3012550"/>
                <a:gd name="connsiteX113" fmla="*/ 6105789 w 12192000"/>
                <a:gd name="connsiteY113" fmla="*/ 0 h 3012550"/>
                <a:gd name="connsiteX114" fmla="*/ 6174052 w 12192000"/>
                <a:gd name="connsiteY114" fmla="*/ 3175 h 3012550"/>
                <a:gd name="connsiteX115" fmla="*/ 6234377 w 12192000"/>
                <a:gd name="connsiteY115" fmla="*/ 9525 h 3012550"/>
                <a:gd name="connsiteX116" fmla="*/ 6286764 w 12192000"/>
                <a:gd name="connsiteY116" fmla="*/ 20637 h 3012550"/>
                <a:gd name="connsiteX117" fmla="*/ 6332802 w 12192000"/>
                <a:gd name="connsiteY117" fmla="*/ 36512 h 3012550"/>
                <a:gd name="connsiteX118" fmla="*/ 6374077 w 12192000"/>
                <a:gd name="connsiteY118" fmla="*/ 52387 h 3012550"/>
                <a:gd name="connsiteX119" fmla="*/ 6410589 w 12192000"/>
                <a:gd name="connsiteY119" fmla="*/ 68262 h 3012550"/>
                <a:gd name="connsiteX120" fmla="*/ 6448689 w 12192000"/>
                <a:gd name="connsiteY120" fmla="*/ 87312 h 3012550"/>
                <a:gd name="connsiteX121" fmla="*/ 6486789 w 12192000"/>
                <a:gd name="connsiteY121" fmla="*/ 106362 h 3012550"/>
                <a:gd name="connsiteX122" fmla="*/ 6523302 w 12192000"/>
                <a:gd name="connsiteY122" fmla="*/ 125412 h 3012550"/>
                <a:gd name="connsiteX123" fmla="*/ 6564577 w 12192000"/>
                <a:gd name="connsiteY123" fmla="*/ 141287 h 3012550"/>
                <a:gd name="connsiteX124" fmla="*/ 6610614 w 12192000"/>
                <a:gd name="connsiteY124" fmla="*/ 155575 h 3012550"/>
                <a:gd name="connsiteX125" fmla="*/ 6663002 w 12192000"/>
                <a:gd name="connsiteY125" fmla="*/ 166687 h 3012550"/>
                <a:gd name="connsiteX126" fmla="*/ 6723327 w 12192000"/>
                <a:gd name="connsiteY126" fmla="*/ 174625 h 3012550"/>
                <a:gd name="connsiteX127" fmla="*/ 6781799 w 12192000"/>
                <a:gd name="connsiteY127" fmla="*/ 175985 h 3012550"/>
                <a:gd name="connsiteX128" fmla="*/ 6840271 w 12192000"/>
                <a:gd name="connsiteY128" fmla="*/ 174625 h 3012550"/>
                <a:gd name="connsiteX129" fmla="*/ 6900596 w 12192000"/>
                <a:gd name="connsiteY129" fmla="*/ 166687 h 3012550"/>
                <a:gd name="connsiteX130" fmla="*/ 6952983 w 12192000"/>
                <a:gd name="connsiteY130" fmla="*/ 155575 h 3012550"/>
                <a:gd name="connsiteX131" fmla="*/ 6999021 w 12192000"/>
                <a:gd name="connsiteY131" fmla="*/ 141287 h 3012550"/>
                <a:gd name="connsiteX132" fmla="*/ 7040296 w 12192000"/>
                <a:gd name="connsiteY132" fmla="*/ 125412 h 3012550"/>
                <a:gd name="connsiteX133" fmla="*/ 7076808 w 12192000"/>
                <a:gd name="connsiteY133" fmla="*/ 106362 h 3012550"/>
                <a:gd name="connsiteX134" fmla="*/ 7114908 w 12192000"/>
                <a:gd name="connsiteY134" fmla="*/ 87312 h 3012550"/>
                <a:gd name="connsiteX135" fmla="*/ 7153008 w 12192000"/>
                <a:gd name="connsiteY135" fmla="*/ 68262 h 3012550"/>
                <a:gd name="connsiteX136" fmla="*/ 7189521 w 12192000"/>
                <a:gd name="connsiteY136" fmla="*/ 52387 h 3012550"/>
                <a:gd name="connsiteX137" fmla="*/ 7230796 w 12192000"/>
                <a:gd name="connsiteY137" fmla="*/ 36512 h 3012550"/>
                <a:gd name="connsiteX138" fmla="*/ 7276833 w 12192000"/>
                <a:gd name="connsiteY138" fmla="*/ 20637 h 3012550"/>
                <a:gd name="connsiteX139" fmla="*/ 7329221 w 12192000"/>
                <a:gd name="connsiteY139" fmla="*/ 9525 h 3012550"/>
                <a:gd name="connsiteX140" fmla="*/ 7389546 w 12192000"/>
                <a:gd name="connsiteY140" fmla="*/ 3175 h 3012550"/>
                <a:gd name="connsiteX141" fmla="*/ 7457808 w 12192000"/>
                <a:gd name="connsiteY141" fmla="*/ 0 h 3012550"/>
                <a:gd name="connsiteX142" fmla="*/ 7526071 w 12192000"/>
                <a:gd name="connsiteY142" fmla="*/ 3175 h 3012550"/>
                <a:gd name="connsiteX143" fmla="*/ 7586396 w 12192000"/>
                <a:gd name="connsiteY143" fmla="*/ 9525 h 3012550"/>
                <a:gd name="connsiteX144" fmla="*/ 7638783 w 12192000"/>
                <a:gd name="connsiteY144" fmla="*/ 20637 h 3012550"/>
                <a:gd name="connsiteX145" fmla="*/ 7684821 w 12192000"/>
                <a:gd name="connsiteY145" fmla="*/ 36512 h 3012550"/>
                <a:gd name="connsiteX146" fmla="*/ 7726096 w 12192000"/>
                <a:gd name="connsiteY146" fmla="*/ 52387 h 3012550"/>
                <a:gd name="connsiteX147" fmla="*/ 7762608 w 12192000"/>
                <a:gd name="connsiteY147" fmla="*/ 68262 h 3012550"/>
                <a:gd name="connsiteX148" fmla="*/ 7800708 w 12192000"/>
                <a:gd name="connsiteY148" fmla="*/ 87312 h 3012550"/>
                <a:gd name="connsiteX149" fmla="*/ 7838808 w 12192000"/>
                <a:gd name="connsiteY149" fmla="*/ 106362 h 3012550"/>
                <a:gd name="connsiteX150" fmla="*/ 7875321 w 12192000"/>
                <a:gd name="connsiteY150" fmla="*/ 125412 h 3012550"/>
                <a:gd name="connsiteX151" fmla="*/ 7916596 w 12192000"/>
                <a:gd name="connsiteY151" fmla="*/ 141287 h 3012550"/>
                <a:gd name="connsiteX152" fmla="*/ 7962633 w 12192000"/>
                <a:gd name="connsiteY152" fmla="*/ 155575 h 3012550"/>
                <a:gd name="connsiteX153" fmla="*/ 8015021 w 12192000"/>
                <a:gd name="connsiteY153" fmla="*/ 166687 h 3012550"/>
                <a:gd name="connsiteX154" fmla="*/ 8075346 w 12192000"/>
                <a:gd name="connsiteY154" fmla="*/ 174625 h 3012550"/>
                <a:gd name="connsiteX155" fmla="*/ 8143608 w 12192000"/>
                <a:gd name="connsiteY155" fmla="*/ 176212 h 3012550"/>
                <a:gd name="connsiteX156" fmla="*/ 8211871 w 12192000"/>
                <a:gd name="connsiteY156" fmla="*/ 174625 h 3012550"/>
                <a:gd name="connsiteX157" fmla="*/ 8272196 w 12192000"/>
                <a:gd name="connsiteY157" fmla="*/ 166687 h 3012550"/>
                <a:gd name="connsiteX158" fmla="*/ 8324583 w 12192000"/>
                <a:gd name="connsiteY158" fmla="*/ 155575 h 3012550"/>
                <a:gd name="connsiteX159" fmla="*/ 8370621 w 12192000"/>
                <a:gd name="connsiteY159" fmla="*/ 141287 h 3012550"/>
                <a:gd name="connsiteX160" fmla="*/ 8411896 w 12192000"/>
                <a:gd name="connsiteY160" fmla="*/ 125412 h 3012550"/>
                <a:gd name="connsiteX161" fmla="*/ 8448408 w 12192000"/>
                <a:gd name="connsiteY161" fmla="*/ 106362 h 3012550"/>
                <a:gd name="connsiteX162" fmla="*/ 8486508 w 12192000"/>
                <a:gd name="connsiteY162" fmla="*/ 87312 h 3012550"/>
                <a:gd name="connsiteX163" fmla="*/ 8524608 w 12192000"/>
                <a:gd name="connsiteY163" fmla="*/ 68262 h 3012550"/>
                <a:gd name="connsiteX164" fmla="*/ 8561120 w 12192000"/>
                <a:gd name="connsiteY164" fmla="*/ 52387 h 3012550"/>
                <a:gd name="connsiteX165" fmla="*/ 8602396 w 12192000"/>
                <a:gd name="connsiteY165" fmla="*/ 36512 h 3012550"/>
                <a:gd name="connsiteX166" fmla="*/ 8648432 w 12192000"/>
                <a:gd name="connsiteY166" fmla="*/ 20637 h 3012550"/>
                <a:gd name="connsiteX167" fmla="*/ 8700820 w 12192000"/>
                <a:gd name="connsiteY167" fmla="*/ 9525 h 3012550"/>
                <a:gd name="connsiteX168" fmla="*/ 8761146 w 12192000"/>
                <a:gd name="connsiteY168" fmla="*/ 3175 h 3012550"/>
                <a:gd name="connsiteX169" fmla="*/ 8827820 w 12192000"/>
                <a:gd name="connsiteY169" fmla="*/ 0 h 3012550"/>
                <a:gd name="connsiteX170" fmla="*/ 8897670 w 12192000"/>
                <a:gd name="connsiteY170" fmla="*/ 3175 h 3012550"/>
                <a:gd name="connsiteX171" fmla="*/ 8957996 w 12192000"/>
                <a:gd name="connsiteY171" fmla="*/ 9525 h 3012550"/>
                <a:gd name="connsiteX172" fmla="*/ 9010382 w 12192000"/>
                <a:gd name="connsiteY172" fmla="*/ 20637 h 3012550"/>
                <a:gd name="connsiteX173" fmla="*/ 9056420 w 12192000"/>
                <a:gd name="connsiteY173" fmla="*/ 36512 h 3012550"/>
                <a:gd name="connsiteX174" fmla="*/ 9097696 w 12192000"/>
                <a:gd name="connsiteY174" fmla="*/ 52387 h 3012550"/>
                <a:gd name="connsiteX175" fmla="*/ 9134208 w 12192000"/>
                <a:gd name="connsiteY175" fmla="*/ 68262 h 3012550"/>
                <a:gd name="connsiteX176" fmla="*/ 9172308 w 12192000"/>
                <a:gd name="connsiteY176" fmla="*/ 87312 h 3012550"/>
                <a:gd name="connsiteX177" fmla="*/ 9210408 w 12192000"/>
                <a:gd name="connsiteY177" fmla="*/ 106362 h 3012550"/>
                <a:gd name="connsiteX178" fmla="*/ 9246920 w 12192000"/>
                <a:gd name="connsiteY178" fmla="*/ 125412 h 3012550"/>
                <a:gd name="connsiteX179" fmla="*/ 9288196 w 12192000"/>
                <a:gd name="connsiteY179" fmla="*/ 141287 h 3012550"/>
                <a:gd name="connsiteX180" fmla="*/ 9334232 w 12192000"/>
                <a:gd name="connsiteY180" fmla="*/ 155575 h 3012550"/>
                <a:gd name="connsiteX181" fmla="*/ 9386620 w 12192000"/>
                <a:gd name="connsiteY181" fmla="*/ 166687 h 3012550"/>
                <a:gd name="connsiteX182" fmla="*/ 9446946 w 12192000"/>
                <a:gd name="connsiteY182" fmla="*/ 174625 h 3012550"/>
                <a:gd name="connsiteX183" fmla="*/ 9515208 w 12192000"/>
                <a:gd name="connsiteY183" fmla="*/ 176212 h 3012550"/>
                <a:gd name="connsiteX184" fmla="*/ 9583470 w 12192000"/>
                <a:gd name="connsiteY184" fmla="*/ 174625 h 3012550"/>
                <a:gd name="connsiteX185" fmla="*/ 9643796 w 12192000"/>
                <a:gd name="connsiteY185" fmla="*/ 166687 h 3012550"/>
                <a:gd name="connsiteX186" fmla="*/ 9696182 w 12192000"/>
                <a:gd name="connsiteY186" fmla="*/ 155575 h 3012550"/>
                <a:gd name="connsiteX187" fmla="*/ 9742220 w 12192000"/>
                <a:gd name="connsiteY187" fmla="*/ 141287 h 3012550"/>
                <a:gd name="connsiteX188" fmla="*/ 9783496 w 12192000"/>
                <a:gd name="connsiteY188" fmla="*/ 125412 h 3012550"/>
                <a:gd name="connsiteX189" fmla="*/ 9820008 w 12192000"/>
                <a:gd name="connsiteY189" fmla="*/ 106362 h 3012550"/>
                <a:gd name="connsiteX190" fmla="*/ 9896208 w 12192000"/>
                <a:gd name="connsiteY190" fmla="*/ 68262 h 3012550"/>
                <a:gd name="connsiteX191" fmla="*/ 9932720 w 12192000"/>
                <a:gd name="connsiteY191" fmla="*/ 52387 h 3012550"/>
                <a:gd name="connsiteX192" fmla="*/ 9973996 w 12192000"/>
                <a:gd name="connsiteY192" fmla="*/ 36512 h 3012550"/>
                <a:gd name="connsiteX193" fmla="*/ 10020032 w 12192000"/>
                <a:gd name="connsiteY193" fmla="*/ 20637 h 3012550"/>
                <a:gd name="connsiteX194" fmla="*/ 10072420 w 12192000"/>
                <a:gd name="connsiteY194" fmla="*/ 9525 h 3012550"/>
                <a:gd name="connsiteX195" fmla="*/ 10132746 w 12192000"/>
                <a:gd name="connsiteY195" fmla="*/ 3175 h 3012550"/>
                <a:gd name="connsiteX196" fmla="*/ 10201008 w 12192000"/>
                <a:gd name="connsiteY196" fmla="*/ 0 h 3012550"/>
                <a:gd name="connsiteX197" fmla="*/ 10269270 w 12192000"/>
                <a:gd name="connsiteY197" fmla="*/ 3175 h 3012550"/>
                <a:gd name="connsiteX198" fmla="*/ 10329596 w 12192000"/>
                <a:gd name="connsiteY198" fmla="*/ 9525 h 3012550"/>
                <a:gd name="connsiteX199" fmla="*/ 10381982 w 12192000"/>
                <a:gd name="connsiteY199" fmla="*/ 20637 h 3012550"/>
                <a:gd name="connsiteX200" fmla="*/ 10428020 w 12192000"/>
                <a:gd name="connsiteY200" fmla="*/ 36512 h 3012550"/>
                <a:gd name="connsiteX201" fmla="*/ 10469296 w 12192000"/>
                <a:gd name="connsiteY201" fmla="*/ 52387 h 3012550"/>
                <a:gd name="connsiteX202" fmla="*/ 10505808 w 12192000"/>
                <a:gd name="connsiteY202" fmla="*/ 68262 h 3012550"/>
                <a:gd name="connsiteX203" fmla="*/ 10543908 w 12192000"/>
                <a:gd name="connsiteY203" fmla="*/ 87312 h 3012550"/>
                <a:gd name="connsiteX204" fmla="*/ 10582008 w 12192000"/>
                <a:gd name="connsiteY204" fmla="*/ 106362 h 3012550"/>
                <a:gd name="connsiteX205" fmla="*/ 10618520 w 12192000"/>
                <a:gd name="connsiteY205" fmla="*/ 125412 h 3012550"/>
                <a:gd name="connsiteX206" fmla="*/ 10659796 w 12192000"/>
                <a:gd name="connsiteY206" fmla="*/ 141287 h 3012550"/>
                <a:gd name="connsiteX207" fmla="*/ 10705832 w 12192000"/>
                <a:gd name="connsiteY207" fmla="*/ 155575 h 3012550"/>
                <a:gd name="connsiteX208" fmla="*/ 10758220 w 12192000"/>
                <a:gd name="connsiteY208" fmla="*/ 166687 h 3012550"/>
                <a:gd name="connsiteX209" fmla="*/ 10818546 w 12192000"/>
                <a:gd name="connsiteY209" fmla="*/ 174625 h 3012550"/>
                <a:gd name="connsiteX210" fmla="*/ 10886808 w 12192000"/>
                <a:gd name="connsiteY210" fmla="*/ 176212 h 3012550"/>
                <a:gd name="connsiteX211" fmla="*/ 10955070 w 12192000"/>
                <a:gd name="connsiteY211" fmla="*/ 174625 h 3012550"/>
                <a:gd name="connsiteX212" fmla="*/ 11015396 w 12192000"/>
                <a:gd name="connsiteY212" fmla="*/ 166687 h 3012550"/>
                <a:gd name="connsiteX213" fmla="*/ 11067782 w 12192000"/>
                <a:gd name="connsiteY213" fmla="*/ 155575 h 3012550"/>
                <a:gd name="connsiteX214" fmla="*/ 11113820 w 12192000"/>
                <a:gd name="connsiteY214" fmla="*/ 141287 h 3012550"/>
                <a:gd name="connsiteX215" fmla="*/ 11155096 w 12192000"/>
                <a:gd name="connsiteY215" fmla="*/ 125412 h 3012550"/>
                <a:gd name="connsiteX216" fmla="*/ 11191608 w 12192000"/>
                <a:gd name="connsiteY216" fmla="*/ 106362 h 3012550"/>
                <a:gd name="connsiteX217" fmla="*/ 11229708 w 12192000"/>
                <a:gd name="connsiteY217" fmla="*/ 87312 h 3012550"/>
                <a:gd name="connsiteX218" fmla="*/ 11267808 w 12192000"/>
                <a:gd name="connsiteY218" fmla="*/ 68262 h 3012550"/>
                <a:gd name="connsiteX219" fmla="*/ 11304320 w 12192000"/>
                <a:gd name="connsiteY219" fmla="*/ 52387 h 3012550"/>
                <a:gd name="connsiteX220" fmla="*/ 11345596 w 12192000"/>
                <a:gd name="connsiteY220" fmla="*/ 36512 h 3012550"/>
                <a:gd name="connsiteX221" fmla="*/ 11391632 w 12192000"/>
                <a:gd name="connsiteY221" fmla="*/ 20637 h 3012550"/>
                <a:gd name="connsiteX222" fmla="*/ 11444020 w 12192000"/>
                <a:gd name="connsiteY222" fmla="*/ 9525 h 3012550"/>
                <a:gd name="connsiteX223" fmla="*/ 11504346 w 12192000"/>
                <a:gd name="connsiteY223" fmla="*/ 3175 h 3012550"/>
                <a:gd name="connsiteX224" fmla="*/ 11572608 w 12192000"/>
                <a:gd name="connsiteY224" fmla="*/ 0 h 3012550"/>
                <a:gd name="connsiteX225" fmla="*/ 11640870 w 12192000"/>
                <a:gd name="connsiteY225" fmla="*/ 3175 h 3012550"/>
                <a:gd name="connsiteX226" fmla="*/ 11701196 w 12192000"/>
                <a:gd name="connsiteY226" fmla="*/ 9525 h 3012550"/>
                <a:gd name="connsiteX227" fmla="*/ 11753582 w 12192000"/>
                <a:gd name="connsiteY227" fmla="*/ 20637 h 3012550"/>
                <a:gd name="connsiteX228" fmla="*/ 11799620 w 12192000"/>
                <a:gd name="connsiteY228" fmla="*/ 36512 h 3012550"/>
                <a:gd name="connsiteX229" fmla="*/ 11840896 w 12192000"/>
                <a:gd name="connsiteY229" fmla="*/ 52387 h 3012550"/>
                <a:gd name="connsiteX230" fmla="*/ 11877408 w 12192000"/>
                <a:gd name="connsiteY230" fmla="*/ 68262 h 3012550"/>
                <a:gd name="connsiteX231" fmla="*/ 11915508 w 12192000"/>
                <a:gd name="connsiteY231" fmla="*/ 87312 h 3012550"/>
                <a:gd name="connsiteX232" fmla="*/ 11953608 w 12192000"/>
                <a:gd name="connsiteY232" fmla="*/ 106362 h 3012550"/>
                <a:gd name="connsiteX233" fmla="*/ 11990120 w 12192000"/>
                <a:gd name="connsiteY233" fmla="*/ 125412 h 3012550"/>
                <a:gd name="connsiteX234" fmla="*/ 12031396 w 12192000"/>
                <a:gd name="connsiteY234" fmla="*/ 141287 h 3012550"/>
                <a:gd name="connsiteX235" fmla="*/ 12077432 w 12192000"/>
                <a:gd name="connsiteY235" fmla="*/ 155575 h 3012550"/>
                <a:gd name="connsiteX236" fmla="*/ 12129820 w 12192000"/>
                <a:gd name="connsiteY236" fmla="*/ 166688 h 3012550"/>
                <a:gd name="connsiteX237" fmla="*/ 12190146 w 12192000"/>
                <a:gd name="connsiteY237" fmla="*/ 174625 h 3012550"/>
                <a:gd name="connsiteX238" fmla="*/ 12192000 w 12192000"/>
                <a:gd name="connsiteY238" fmla="*/ 174668 h 3012550"/>
                <a:gd name="connsiteX239" fmla="*/ 12192000 w 12192000"/>
                <a:gd name="connsiteY239" fmla="*/ 319046 h 3012550"/>
                <a:gd name="connsiteX240" fmla="*/ 12192000 w 12192000"/>
                <a:gd name="connsiteY240" fmla="*/ 319047 h 3012550"/>
                <a:gd name="connsiteX241" fmla="*/ 12192000 w 12192000"/>
                <a:gd name="connsiteY241" fmla="*/ 463425 h 3012550"/>
                <a:gd name="connsiteX242" fmla="*/ 12192000 w 12192000"/>
                <a:gd name="connsiteY242" fmla="*/ 885826 h 3012550"/>
                <a:gd name="connsiteX243" fmla="*/ 12192000 w 12192000"/>
                <a:gd name="connsiteY243" fmla="*/ 1030204 h 3012550"/>
                <a:gd name="connsiteX244" fmla="*/ 12192000 w 12192000"/>
                <a:gd name="connsiteY244" fmla="*/ 1030205 h 3012550"/>
                <a:gd name="connsiteX245" fmla="*/ 12192000 w 12192000"/>
                <a:gd name="connsiteY245" fmla="*/ 1174583 h 3012550"/>
                <a:gd name="connsiteX246" fmla="*/ 12192000 w 12192000"/>
                <a:gd name="connsiteY246" fmla="*/ 1698100 h 3012550"/>
                <a:gd name="connsiteX247" fmla="*/ 12192000 w 12192000"/>
                <a:gd name="connsiteY247" fmla="*/ 1787292 h 3012550"/>
                <a:gd name="connsiteX248" fmla="*/ 12192000 w 12192000"/>
                <a:gd name="connsiteY248" fmla="*/ 1931670 h 3012550"/>
                <a:gd name="connsiteX249" fmla="*/ 12192000 w 12192000"/>
                <a:gd name="connsiteY249" fmla="*/ 1931671 h 3012550"/>
                <a:gd name="connsiteX250" fmla="*/ 12192000 w 12192000"/>
                <a:gd name="connsiteY250" fmla="*/ 2076049 h 3012550"/>
                <a:gd name="connsiteX251" fmla="*/ 12192000 w 12192000"/>
                <a:gd name="connsiteY251" fmla="*/ 3012550 h 3012550"/>
                <a:gd name="connsiteX252" fmla="*/ 12191997 w 12192000"/>
                <a:gd name="connsiteY252" fmla="*/ 3012550 h 3012550"/>
                <a:gd name="connsiteX253" fmla="*/ 1 w 12192000"/>
                <a:gd name="connsiteY253" fmla="*/ 3012550 h 3012550"/>
                <a:gd name="connsiteX254" fmla="*/ 0 w 12192000"/>
                <a:gd name="connsiteY254" fmla="*/ 3012550 h 3012550"/>
                <a:gd name="connsiteX255" fmla="*/ 0 w 12192000"/>
                <a:gd name="connsiteY255" fmla="*/ 2076049 h 3012550"/>
                <a:gd name="connsiteX256" fmla="*/ 0 w 12192000"/>
                <a:gd name="connsiteY256" fmla="*/ 1931671 h 3012550"/>
                <a:gd name="connsiteX257" fmla="*/ 0 w 12192000"/>
                <a:gd name="connsiteY257" fmla="*/ 1931670 h 3012550"/>
                <a:gd name="connsiteX258" fmla="*/ 0 w 12192000"/>
                <a:gd name="connsiteY258" fmla="*/ 1787292 h 3012550"/>
                <a:gd name="connsiteX259" fmla="*/ 0 w 12192000"/>
                <a:gd name="connsiteY259" fmla="*/ 1698100 h 3012550"/>
                <a:gd name="connsiteX260" fmla="*/ 0 w 12192000"/>
                <a:gd name="connsiteY260" fmla="*/ 1174583 h 3012550"/>
                <a:gd name="connsiteX261" fmla="*/ 0 w 12192000"/>
                <a:gd name="connsiteY261" fmla="*/ 1030205 h 3012550"/>
                <a:gd name="connsiteX262" fmla="*/ 0 w 12192000"/>
                <a:gd name="connsiteY262" fmla="*/ 1030204 h 3012550"/>
                <a:gd name="connsiteX263" fmla="*/ 0 w 12192000"/>
                <a:gd name="connsiteY263" fmla="*/ 885826 h 3012550"/>
                <a:gd name="connsiteX264" fmla="*/ 0 w 12192000"/>
                <a:gd name="connsiteY264" fmla="*/ 463425 h 3012550"/>
                <a:gd name="connsiteX265" fmla="*/ 0 w 12192000"/>
                <a:gd name="connsiteY265" fmla="*/ 319047 h 3012550"/>
                <a:gd name="connsiteX266" fmla="*/ 0 w 12192000"/>
                <a:gd name="connsiteY266" fmla="*/ 319046 h 3012550"/>
                <a:gd name="connsiteX267" fmla="*/ 0 w 12192000"/>
                <a:gd name="connsiteY267" fmla="*/ 174668 h 3012550"/>
                <a:gd name="connsiteX268" fmla="*/ 1852 w 12192000"/>
                <a:gd name="connsiteY268" fmla="*/ 174625 h 3012550"/>
                <a:gd name="connsiteX269" fmla="*/ 62177 w 12192000"/>
                <a:gd name="connsiteY269" fmla="*/ 166687 h 3012550"/>
                <a:gd name="connsiteX270" fmla="*/ 114564 w 12192000"/>
                <a:gd name="connsiteY270" fmla="*/ 155575 h 3012550"/>
                <a:gd name="connsiteX271" fmla="*/ 160602 w 12192000"/>
                <a:gd name="connsiteY271" fmla="*/ 141287 h 3012550"/>
                <a:gd name="connsiteX272" fmla="*/ 201877 w 12192000"/>
                <a:gd name="connsiteY272" fmla="*/ 125412 h 3012550"/>
                <a:gd name="connsiteX273" fmla="*/ 238389 w 12192000"/>
                <a:gd name="connsiteY273" fmla="*/ 106362 h 3012550"/>
                <a:gd name="connsiteX274" fmla="*/ 276489 w 12192000"/>
                <a:gd name="connsiteY274" fmla="*/ 87312 h 3012550"/>
                <a:gd name="connsiteX275" fmla="*/ 314589 w 12192000"/>
                <a:gd name="connsiteY275" fmla="*/ 68262 h 3012550"/>
                <a:gd name="connsiteX276" fmla="*/ 351102 w 12192000"/>
                <a:gd name="connsiteY276" fmla="*/ 52387 h 3012550"/>
                <a:gd name="connsiteX277" fmla="*/ 392377 w 12192000"/>
                <a:gd name="connsiteY277" fmla="*/ 36512 h 3012550"/>
                <a:gd name="connsiteX278" fmla="*/ 438414 w 12192000"/>
                <a:gd name="connsiteY278" fmla="*/ 20637 h 3012550"/>
                <a:gd name="connsiteX279" fmla="*/ 490802 w 12192000"/>
                <a:gd name="connsiteY279" fmla="*/ 9525 h 3012550"/>
                <a:gd name="connsiteX280" fmla="*/ 551127 w 12192000"/>
                <a:gd name="connsiteY280" fmla="*/ 3175 h 301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2192000" h="3012550">
                  <a:moveTo>
                    <a:pt x="619389" y="0"/>
                  </a:moveTo>
                  <a:lnTo>
                    <a:pt x="687652" y="3175"/>
                  </a:lnTo>
                  <a:lnTo>
                    <a:pt x="747977" y="9525"/>
                  </a:lnTo>
                  <a:lnTo>
                    <a:pt x="800364" y="20637"/>
                  </a:lnTo>
                  <a:lnTo>
                    <a:pt x="846402" y="36512"/>
                  </a:lnTo>
                  <a:lnTo>
                    <a:pt x="887677" y="52387"/>
                  </a:lnTo>
                  <a:lnTo>
                    <a:pt x="924189" y="68262"/>
                  </a:lnTo>
                  <a:lnTo>
                    <a:pt x="962289" y="87312"/>
                  </a:lnTo>
                  <a:lnTo>
                    <a:pt x="1000389" y="106362"/>
                  </a:lnTo>
                  <a:lnTo>
                    <a:pt x="1036902" y="125412"/>
                  </a:lnTo>
                  <a:lnTo>
                    <a:pt x="1078177" y="141287"/>
                  </a:lnTo>
                  <a:lnTo>
                    <a:pt x="1124214" y="155575"/>
                  </a:lnTo>
                  <a:lnTo>
                    <a:pt x="1176602" y="166687"/>
                  </a:lnTo>
                  <a:lnTo>
                    <a:pt x="1236927" y="174625"/>
                  </a:lnTo>
                  <a:lnTo>
                    <a:pt x="1305189" y="176212"/>
                  </a:lnTo>
                  <a:lnTo>
                    <a:pt x="1373452" y="174625"/>
                  </a:lnTo>
                  <a:lnTo>
                    <a:pt x="1433777" y="166687"/>
                  </a:lnTo>
                  <a:lnTo>
                    <a:pt x="1486164" y="155575"/>
                  </a:lnTo>
                  <a:lnTo>
                    <a:pt x="1532202" y="141287"/>
                  </a:lnTo>
                  <a:lnTo>
                    <a:pt x="1573477" y="125412"/>
                  </a:lnTo>
                  <a:lnTo>
                    <a:pt x="1609989" y="106362"/>
                  </a:lnTo>
                  <a:lnTo>
                    <a:pt x="1648089" y="87312"/>
                  </a:lnTo>
                  <a:lnTo>
                    <a:pt x="1686189" y="68262"/>
                  </a:lnTo>
                  <a:lnTo>
                    <a:pt x="1722702" y="52387"/>
                  </a:lnTo>
                  <a:lnTo>
                    <a:pt x="1763977" y="36512"/>
                  </a:lnTo>
                  <a:lnTo>
                    <a:pt x="1810014" y="20637"/>
                  </a:lnTo>
                  <a:lnTo>
                    <a:pt x="1862402" y="9525"/>
                  </a:lnTo>
                  <a:lnTo>
                    <a:pt x="1922727" y="3175"/>
                  </a:lnTo>
                  <a:lnTo>
                    <a:pt x="1990989" y="0"/>
                  </a:lnTo>
                  <a:lnTo>
                    <a:pt x="2059252" y="3175"/>
                  </a:lnTo>
                  <a:lnTo>
                    <a:pt x="2119577" y="9525"/>
                  </a:lnTo>
                  <a:lnTo>
                    <a:pt x="2171964" y="20637"/>
                  </a:lnTo>
                  <a:lnTo>
                    <a:pt x="2218002" y="36512"/>
                  </a:lnTo>
                  <a:lnTo>
                    <a:pt x="2259277" y="52387"/>
                  </a:lnTo>
                  <a:lnTo>
                    <a:pt x="2295789" y="68262"/>
                  </a:lnTo>
                  <a:lnTo>
                    <a:pt x="2333889" y="87312"/>
                  </a:lnTo>
                  <a:lnTo>
                    <a:pt x="2371989" y="106362"/>
                  </a:lnTo>
                  <a:lnTo>
                    <a:pt x="2408502" y="125412"/>
                  </a:lnTo>
                  <a:lnTo>
                    <a:pt x="2449777" y="141287"/>
                  </a:lnTo>
                  <a:lnTo>
                    <a:pt x="2495814" y="155575"/>
                  </a:lnTo>
                  <a:lnTo>
                    <a:pt x="2548202" y="166687"/>
                  </a:lnTo>
                  <a:lnTo>
                    <a:pt x="2608527" y="174625"/>
                  </a:lnTo>
                  <a:lnTo>
                    <a:pt x="2676789" y="176212"/>
                  </a:lnTo>
                  <a:lnTo>
                    <a:pt x="2745052" y="174625"/>
                  </a:lnTo>
                  <a:lnTo>
                    <a:pt x="2805377" y="166687"/>
                  </a:lnTo>
                  <a:lnTo>
                    <a:pt x="2857764" y="155575"/>
                  </a:lnTo>
                  <a:lnTo>
                    <a:pt x="2903802" y="141287"/>
                  </a:lnTo>
                  <a:lnTo>
                    <a:pt x="2945077" y="125412"/>
                  </a:lnTo>
                  <a:lnTo>
                    <a:pt x="2981589" y="106362"/>
                  </a:lnTo>
                  <a:lnTo>
                    <a:pt x="3019689" y="87312"/>
                  </a:lnTo>
                  <a:lnTo>
                    <a:pt x="3057789" y="68262"/>
                  </a:lnTo>
                  <a:lnTo>
                    <a:pt x="3094302" y="52387"/>
                  </a:lnTo>
                  <a:lnTo>
                    <a:pt x="3135577" y="36512"/>
                  </a:lnTo>
                  <a:lnTo>
                    <a:pt x="3181614" y="20637"/>
                  </a:lnTo>
                  <a:lnTo>
                    <a:pt x="3234002" y="9525"/>
                  </a:lnTo>
                  <a:lnTo>
                    <a:pt x="3294327" y="3175"/>
                  </a:lnTo>
                  <a:lnTo>
                    <a:pt x="3361002" y="0"/>
                  </a:lnTo>
                  <a:lnTo>
                    <a:pt x="3430852" y="3175"/>
                  </a:lnTo>
                  <a:lnTo>
                    <a:pt x="3491177" y="9525"/>
                  </a:lnTo>
                  <a:lnTo>
                    <a:pt x="3543564" y="20637"/>
                  </a:lnTo>
                  <a:lnTo>
                    <a:pt x="3589602" y="36512"/>
                  </a:lnTo>
                  <a:lnTo>
                    <a:pt x="3630877" y="52387"/>
                  </a:lnTo>
                  <a:lnTo>
                    <a:pt x="3667389" y="68262"/>
                  </a:lnTo>
                  <a:lnTo>
                    <a:pt x="3705489" y="87312"/>
                  </a:lnTo>
                  <a:lnTo>
                    <a:pt x="3743589" y="106362"/>
                  </a:lnTo>
                  <a:lnTo>
                    <a:pt x="3780102" y="125412"/>
                  </a:lnTo>
                  <a:lnTo>
                    <a:pt x="3821377" y="141287"/>
                  </a:lnTo>
                  <a:lnTo>
                    <a:pt x="3867414" y="155575"/>
                  </a:lnTo>
                  <a:lnTo>
                    <a:pt x="3919802" y="166687"/>
                  </a:lnTo>
                  <a:lnTo>
                    <a:pt x="3980127" y="174625"/>
                  </a:lnTo>
                  <a:lnTo>
                    <a:pt x="4048389" y="176212"/>
                  </a:lnTo>
                  <a:lnTo>
                    <a:pt x="4116652" y="174625"/>
                  </a:lnTo>
                  <a:lnTo>
                    <a:pt x="4176977" y="166687"/>
                  </a:lnTo>
                  <a:lnTo>
                    <a:pt x="4229364" y="155575"/>
                  </a:lnTo>
                  <a:lnTo>
                    <a:pt x="4275402" y="141287"/>
                  </a:lnTo>
                  <a:lnTo>
                    <a:pt x="4316677" y="125412"/>
                  </a:lnTo>
                  <a:lnTo>
                    <a:pt x="4353189" y="106362"/>
                  </a:lnTo>
                  <a:lnTo>
                    <a:pt x="4429389" y="68262"/>
                  </a:lnTo>
                  <a:lnTo>
                    <a:pt x="4465902" y="52387"/>
                  </a:lnTo>
                  <a:lnTo>
                    <a:pt x="4507177" y="36512"/>
                  </a:lnTo>
                  <a:lnTo>
                    <a:pt x="4553215" y="20637"/>
                  </a:lnTo>
                  <a:lnTo>
                    <a:pt x="4605602" y="9525"/>
                  </a:lnTo>
                  <a:lnTo>
                    <a:pt x="4665928" y="3175"/>
                  </a:lnTo>
                  <a:lnTo>
                    <a:pt x="4734189" y="0"/>
                  </a:lnTo>
                  <a:lnTo>
                    <a:pt x="4802453" y="3175"/>
                  </a:lnTo>
                  <a:lnTo>
                    <a:pt x="4862777" y="9525"/>
                  </a:lnTo>
                  <a:lnTo>
                    <a:pt x="4915165" y="20637"/>
                  </a:lnTo>
                  <a:lnTo>
                    <a:pt x="4961201" y="36512"/>
                  </a:lnTo>
                  <a:lnTo>
                    <a:pt x="5002477" y="52387"/>
                  </a:lnTo>
                  <a:lnTo>
                    <a:pt x="5038989" y="68262"/>
                  </a:lnTo>
                  <a:lnTo>
                    <a:pt x="5077090" y="87312"/>
                  </a:lnTo>
                  <a:lnTo>
                    <a:pt x="5115189" y="106362"/>
                  </a:lnTo>
                  <a:lnTo>
                    <a:pt x="5151701" y="125412"/>
                  </a:lnTo>
                  <a:lnTo>
                    <a:pt x="5192977" y="141287"/>
                  </a:lnTo>
                  <a:lnTo>
                    <a:pt x="5239014" y="155575"/>
                  </a:lnTo>
                  <a:lnTo>
                    <a:pt x="5291401" y="166687"/>
                  </a:lnTo>
                  <a:lnTo>
                    <a:pt x="5351727" y="174625"/>
                  </a:lnTo>
                  <a:lnTo>
                    <a:pt x="5410199" y="175985"/>
                  </a:lnTo>
                  <a:lnTo>
                    <a:pt x="5468671" y="174625"/>
                  </a:lnTo>
                  <a:lnTo>
                    <a:pt x="5528996" y="166687"/>
                  </a:lnTo>
                  <a:lnTo>
                    <a:pt x="5581383" y="155575"/>
                  </a:lnTo>
                  <a:lnTo>
                    <a:pt x="5627421" y="141287"/>
                  </a:lnTo>
                  <a:lnTo>
                    <a:pt x="5668696" y="125412"/>
                  </a:lnTo>
                  <a:lnTo>
                    <a:pt x="5705209" y="106362"/>
                  </a:lnTo>
                  <a:lnTo>
                    <a:pt x="5743308" y="87312"/>
                  </a:lnTo>
                  <a:lnTo>
                    <a:pt x="5781408" y="68262"/>
                  </a:lnTo>
                  <a:lnTo>
                    <a:pt x="5817921" y="52387"/>
                  </a:lnTo>
                  <a:lnTo>
                    <a:pt x="5859196" y="36512"/>
                  </a:lnTo>
                  <a:lnTo>
                    <a:pt x="5905234" y="20637"/>
                  </a:lnTo>
                  <a:lnTo>
                    <a:pt x="5957621" y="9525"/>
                  </a:lnTo>
                  <a:lnTo>
                    <a:pt x="6017947" y="3175"/>
                  </a:lnTo>
                  <a:lnTo>
                    <a:pt x="6086209" y="0"/>
                  </a:lnTo>
                  <a:lnTo>
                    <a:pt x="6095999" y="455"/>
                  </a:lnTo>
                  <a:lnTo>
                    <a:pt x="6105789" y="0"/>
                  </a:lnTo>
                  <a:lnTo>
                    <a:pt x="6174052" y="3175"/>
                  </a:lnTo>
                  <a:lnTo>
                    <a:pt x="6234377" y="9525"/>
                  </a:lnTo>
                  <a:lnTo>
                    <a:pt x="6286764" y="20637"/>
                  </a:lnTo>
                  <a:lnTo>
                    <a:pt x="6332802" y="36512"/>
                  </a:lnTo>
                  <a:lnTo>
                    <a:pt x="6374077" y="52387"/>
                  </a:lnTo>
                  <a:lnTo>
                    <a:pt x="6410589" y="68262"/>
                  </a:lnTo>
                  <a:lnTo>
                    <a:pt x="6448689" y="87312"/>
                  </a:lnTo>
                  <a:lnTo>
                    <a:pt x="6486789" y="106362"/>
                  </a:lnTo>
                  <a:lnTo>
                    <a:pt x="6523302" y="125412"/>
                  </a:lnTo>
                  <a:lnTo>
                    <a:pt x="6564577" y="141287"/>
                  </a:lnTo>
                  <a:lnTo>
                    <a:pt x="6610614" y="155575"/>
                  </a:lnTo>
                  <a:lnTo>
                    <a:pt x="6663002" y="166687"/>
                  </a:lnTo>
                  <a:lnTo>
                    <a:pt x="6723327" y="174625"/>
                  </a:lnTo>
                  <a:lnTo>
                    <a:pt x="6781799" y="175985"/>
                  </a:lnTo>
                  <a:lnTo>
                    <a:pt x="6840271" y="174625"/>
                  </a:lnTo>
                  <a:lnTo>
                    <a:pt x="6900596" y="166687"/>
                  </a:lnTo>
                  <a:lnTo>
                    <a:pt x="6952983" y="155575"/>
                  </a:lnTo>
                  <a:lnTo>
                    <a:pt x="6999021" y="141287"/>
                  </a:lnTo>
                  <a:lnTo>
                    <a:pt x="7040296" y="125412"/>
                  </a:lnTo>
                  <a:lnTo>
                    <a:pt x="7076808" y="106362"/>
                  </a:lnTo>
                  <a:lnTo>
                    <a:pt x="7114908" y="87312"/>
                  </a:lnTo>
                  <a:lnTo>
                    <a:pt x="7153008" y="68262"/>
                  </a:lnTo>
                  <a:lnTo>
                    <a:pt x="7189521" y="52387"/>
                  </a:lnTo>
                  <a:lnTo>
                    <a:pt x="7230796" y="36512"/>
                  </a:lnTo>
                  <a:lnTo>
                    <a:pt x="7276833" y="20637"/>
                  </a:lnTo>
                  <a:lnTo>
                    <a:pt x="7329221" y="9525"/>
                  </a:lnTo>
                  <a:lnTo>
                    <a:pt x="7389546" y="3175"/>
                  </a:lnTo>
                  <a:lnTo>
                    <a:pt x="7457808" y="0"/>
                  </a:lnTo>
                  <a:lnTo>
                    <a:pt x="7526071" y="3175"/>
                  </a:lnTo>
                  <a:lnTo>
                    <a:pt x="7586396" y="9525"/>
                  </a:lnTo>
                  <a:lnTo>
                    <a:pt x="7638783" y="20637"/>
                  </a:lnTo>
                  <a:lnTo>
                    <a:pt x="7684821" y="36512"/>
                  </a:lnTo>
                  <a:lnTo>
                    <a:pt x="7726096" y="52387"/>
                  </a:lnTo>
                  <a:lnTo>
                    <a:pt x="7762608" y="68262"/>
                  </a:lnTo>
                  <a:lnTo>
                    <a:pt x="7800708" y="87312"/>
                  </a:lnTo>
                  <a:lnTo>
                    <a:pt x="7838808" y="106362"/>
                  </a:lnTo>
                  <a:lnTo>
                    <a:pt x="7875321" y="125412"/>
                  </a:lnTo>
                  <a:lnTo>
                    <a:pt x="7916596" y="141287"/>
                  </a:lnTo>
                  <a:lnTo>
                    <a:pt x="7962633" y="155575"/>
                  </a:lnTo>
                  <a:lnTo>
                    <a:pt x="8015021" y="166687"/>
                  </a:lnTo>
                  <a:lnTo>
                    <a:pt x="8075346" y="174625"/>
                  </a:lnTo>
                  <a:lnTo>
                    <a:pt x="8143608" y="176212"/>
                  </a:lnTo>
                  <a:lnTo>
                    <a:pt x="8211871" y="174625"/>
                  </a:lnTo>
                  <a:lnTo>
                    <a:pt x="8272196" y="166687"/>
                  </a:lnTo>
                  <a:lnTo>
                    <a:pt x="8324583" y="155575"/>
                  </a:lnTo>
                  <a:lnTo>
                    <a:pt x="8370621" y="141287"/>
                  </a:lnTo>
                  <a:lnTo>
                    <a:pt x="8411896" y="125412"/>
                  </a:lnTo>
                  <a:lnTo>
                    <a:pt x="8448408" y="106362"/>
                  </a:lnTo>
                  <a:lnTo>
                    <a:pt x="8486508" y="87312"/>
                  </a:lnTo>
                  <a:lnTo>
                    <a:pt x="8524608" y="68262"/>
                  </a:lnTo>
                  <a:lnTo>
                    <a:pt x="8561120" y="52387"/>
                  </a:lnTo>
                  <a:lnTo>
                    <a:pt x="8602396" y="36512"/>
                  </a:lnTo>
                  <a:lnTo>
                    <a:pt x="8648432" y="20637"/>
                  </a:lnTo>
                  <a:lnTo>
                    <a:pt x="8700820" y="9525"/>
                  </a:lnTo>
                  <a:lnTo>
                    <a:pt x="8761146" y="3175"/>
                  </a:lnTo>
                  <a:lnTo>
                    <a:pt x="8827820" y="0"/>
                  </a:lnTo>
                  <a:lnTo>
                    <a:pt x="8897670" y="3175"/>
                  </a:lnTo>
                  <a:lnTo>
                    <a:pt x="8957996" y="9525"/>
                  </a:lnTo>
                  <a:lnTo>
                    <a:pt x="9010382" y="20637"/>
                  </a:lnTo>
                  <a:lnTo>
                    <a:pt x="9056420" y="36512"/>
                  </a:lnTo>
                  <a:lnTo>
                    <a:pt x="9097696" y="52387"/>
                  </a:lnTo>
                  <a:lnTo>
                    <a:pt x="9134208" y="68262"/>
                  </a:lnTo>
                  <a:lnTo>
                    <a:pt x="9172308" y="87312"/>
                  </a:lnTo>
                  <a:lnTo>
                    <a:pt x="9210408" y="106362"/>
                  </a:lnTo>
                  <a:lnTo>
                    <a:pt x="9246920" y="125412"/>
                  </a:lnTo>
                  <a:lnTo>
                    <a:pt x="9288196" y="141287"/>
                  </a:lnTo>
                  <a:lnTo>
                    <a:pt x="9334232" y="155575"/>
                  </a:lnTo>
                  <a:lnTo>
                    <a:pt x="9386620" y="166687"/>
                  </a:lnTo>
                  <a:lnTo>
                    <a:pt x="9446946" y="174625"/>
                  </a:lnTo>
                  <a:lnTo>
                    <a:pt x="9515208" y="176212"/>
                  </a:lnTo>
                  <a:lnTo>
                    <a:pt x="9583470" y="174625"/>
                  </a:lnTo>
                  <a:lnTo>
                    <a:pt x="9643796" y="166687"/>
                  </a:lnTo>
                  <a:lnTo>
                    <a:pt x="9696182" y="155575"/>
                  </a:lnTo>
                  <a:lnTo>
                    <a:pt x="9742220" y="141287"/>
                  </a:lnTo>
                  <a:lnTo>
                    <a:pt x="9783496" y="125412"/>
                  </a:lnTo>
                  <a:lnTo>
                    <a:pt x="9820008" y="106362"/>
                  </a:lnTo>
                  <a:lnTo>
                    <a:pt x="9896208" y="68262"/>
                  </a:lnTo>
                  <a:lnTo>
                    <a:pt x="9932720" y="52387"/>
                  </a:lnTo>
                  <a:lnTo>
                    <a:pt x="9973996" y="36512"/>
                  </a:lnTo>
                  <a:lnTo>
                    <a:pt x="10020032" y="20637"/>
                  </a:lnTo>
                  <a:lnTo>
                    <a:pt x="10072420" y="9525"/>
                  </a:lnTo>
                  <a:lnTo>
                    <a:pt x="10132746" y="3175"/>
                  </a:lnTo>
                  <a:lnTo>
                    <a:pt x="10201008" y="0"/>
                  </a:lnTo>
                  <a:lnTo>
                    <a:pt x="10269270" y="3175"/>
                  </a:lnTo>
                  <a:lnTo>
                    <a:pt x="10329596" y="9525"/>
                  </a:lnTo>
                  <a:lnTo>
                    <a:pt x="10381982" y="20637"/>
                  </a:lnTo>
                  <a:lnTo>
                    <a:pt x="10428020" y="36512"/>
                  </a:lnTo>
                  <a:lnTo>
                    <a:pt x="10469296" y="52387"/>
                  </a:lnTo>
                  <a:lnTo>
                    <a:pt x="10505808" y="68262"/>
                  </a:lnTo>
                  <a:lnTo>
                    <a:pt x="10543908" y="87312"/>
                  </a:lnTo>
                  <a:lnTo>
                    <a:pt x="10582008" y="106362"/>
                  </a:lnTo>
                  <a:lnTo>
                    <a:pt x="10618520" y="125412"/>
                  </a:lnTo>
                  <a:lnTo>
                    <a:pt x="10659796" y="141287"/>
                  </a:lnTo>
                  <a:lnTo>
                    <a:pt x="10705832" y="155575"/>
                  </a:lnTo>
                  <a:lnTo>
                    <a:pt x="10758220" y="166687"/>
                  </a:lnTo>
                  <a:lnTo>
                    <a:pt x="10818546" y="174625"/>
                  </a:lnTo>
                  <a:lnTo>
                    <a:pt x="10886808" y="176212"/>
                  </a:lnTo>
                  <a:lnTo>
                    <a:pt x="10955070" y="174625"/>
                  </a:lnTo>
                  <a:lnTo>
                    <a:pt x="11015396" y="166687"/>
                  </a:lnTo>
                  <a:lnTo>
                    <a:pt x="11067782" y="155575"/>
                  </a:lnTo>
                  <a:lnTo>
                    <a:pt x="11113820" y="141287"/>
                  </a:lnTo>
                  <a:lnTo>
                    <a:pt x="11155096" y="125412"/>
                  </a:lnTo>
                  <a:lnTo>
                    <a:pt x="11191608" y="106362"/>
                  </a:lnTo>
                  <a:lnTo>
                    <a:pt x="11229708" y="87312"/>
                  </a:lnTo>
                  <a:lnTo>
                    <a:pt x="11267808" y="68262"/>
                  </a:lnTo>
                  <a:lnTo>
                    <a:pt x="11304320" y="52387"/>
                  </a:lnTo>
                  <a:lnTo>
                    <a:pt x="11345596" y="36512"/>
                  </a:lnTo>
                  <a:lnTo>
                    <a:pt x="11391632" y="20637"/>
                  </a:lnTo>
                  <a:lnTo>
                    <a:pt x="11444020" y="9525"/>
                  </a:lnTo>
                  <a:lnTo>
                    <a:pt x="11504346" y="3175"/>
                  </a:lnTo>
                  <a:lnTo>
                    <a:pt x="11572608" y="0"/>
                  </a:lnTo>
                  <a:lnTo>
                    <a:pt x="11640870" y="3175"/>
                  </a:lnTo>
                  <a:lnTo>
                    <a:pt x="11701196" y="9525"/>
                  </a:lnTo>
                  <a:lnTo>
                    <a:pt x="11753582" y="20637"/>
                  </a:lnTo>
                  <a:lnTo>
                    <a:pt x="11799620" y="36512"/>
                  </a:lnTo>
                  <a:lnTo>
                    <a:pt x="11840896" y="52387"/>
                  </a:lnTo>
                  <a:lnTo>
                    <a:pt x="11877408" y="68262"/>
                  </a:lnTo>
                  <a:lnTo>
                    <a:pt x="11915508" y="87312"/>
                  </a:lnTo>
                  <a:lnTo>
                    <a:pt x="11953608" y="106362"/>
                  </a:lnTo>
                  <a:lnTo>
                    <a:pt x="11990120" y="125412"/>
                  </a:lnTo>
                  <a:lnTo>
                    <a:pt x="12031396" y="141287"/>
                  </a:lnTo>
                  <a:lnTo>
                    <a:pt x="12077432" y="155575"/>
                  </a:lnTo>
                  <a:lnTo>
                    <a:pt x="12129820" y="166688"/>
                  </a:lnTo>
                  <a:lnTo>
                    <a:pt x="12190146" y="174625"/>
                  </a:lnTo>
                  <a:lnTo>
                    <a:pt x="12192000" y="174668"/>
                  </a:lnTo>
                  <a:lnTo>
                    <a:pt x="12192000" y="319046"/>
                  </a:lnTo>
                  <a:lnTo>
                    <a:pt x="12192000" y="319047"/>
                  </a:lnTo>
                  <a:lnTo>
                    <a:pt x="12192000" y="463425"/>
                  </a:lnTo>
                  <a:lnTo>
                    <a:pt x="12192000" y="885826"/>
                  </a:lnTo>
                  <a:lnTo>
                    <a:pt x="12192000" y="1030204"/>
                  </a:lnTo>
                  <a:lnTo>
                    <a:pt x="12192000" y="1030205"/>
                  </a:lnTo>
                  <a:lnTo>
                    <a:pt x="12192000" y="1174583"/>
                  </a:lnTo>
                  <a:lnTo>
                    <a:pt x="12192000" y="1698100"/>
                  </a:lnTo>
                  <a:lnTo>
                    <a:pt x="12192000" y="1787292"/>
                  </a:lnTo>
                  <a:lnTo>
                    <a:pt x="12192000" y="1931670"/>
                  </a:lnTo>
                  <a:lnTo>
                    <a:pt x="12192000" y="1931671"/>
                  </a:lnTo>
                  <a:lnTo>
                    <a:pt x="12192000" y="2076049"/>
                  </a:lnTo>
                  <a:lnTo>
                    <a:pt x="12192000" y="3012550"/>
                  </a:lnTo>
                  <a:lnTo>
                    <a:pt x="12191997" y="3012550"/>
                  </a:lnTo>
                  <a:lnTo>
                    <a:pt x="1" y="3012550"/>
                  </a:lnTo>
                  <a:lnTo>
                    <a:pt x="0" y="3012550"/>
                  </a:lnTo>
                  <a:lnTo>
                    <a:pt x="0" y="2076049"/>
                  </a:lnTo>
                  <a:lnTo>
                    <a:pt x="0" y="1931671"/>
                  </a:lnTo>
                  <a:lnTo>
                    <a:pt x="0" y="1931670"/>
                  </a:lnTo>
                  <a:lnTo>
                    <a:pt x="0" y="1787292"/>
                  </a:lnTo>
                  <a:lnTo>
                    <a:pt x="0" y="1698100"/>
                  </a:lnTo>
                  <a:lnTo>
                    <a:pt x="0" y="1174583"/>
                  </a:lnTo>
                  <a:lnTo>
                    <a:pt x="0" y="1030205"/>
                  </a:lnTo>
                  <a:lnTo>
                    <a:pt x="0" y="1030204"/>
                  </a:lnTo>
                  <a:lnTo>
                    <a:pt x="0" y="885826"/>
                  </a:lnTo>
                  <a:lnTo>
                    <a:pt x="0" y="463425"/>
                  </a:lnTo>
                  <a:lnTo>
                    <a:pt x="0" y="319047"/>
                  </a:lnTo>
                  <a:lnTo>
                    <a:pt x="0" y="319046"/>
                  </a:lnTo>
                  <a:lnTo>
                    <a:pt x="0" y="174668"/>
                  </a:lnTo>
                  <a:lnTo>
                    <a:pt x="1852" y="174625"/>
                  </a:lnTo>
                  <a:lnTo>
                    <a:pt x="62177" y="166687"/>
                  </a:lnTo>
                  <a:lnTo>
                    <a:pt x="114564" y="155575"/>
                  </a:lnTo>
                  <a:lnTo>
                    <a:pt x="160602" y="141287"/>
                  </a:lnTo>
                  <a:lnTo>
                    <a:pt x="201877" y="125412"/>
                  </a:lnTo>
                  <a:lnTo>
                    <a:pt x="238389" y="106362"/>
                  </a:lnTo>
                  <a:lnTo>
                    <a:pt x="276489" y="87312"/>
                  </a:lnTo>
                  <a:lnTo>
                    <a:pt x="314589" y="68262"/>
                  </a:lnTo>
                  <a:lnTo>
                    <a:pt x="351102" y="52387"/>
                  </a:lnTo>
                  <a:lnTo>
                    <a:pt x="392377" y="36512"/>
                  </a:lnTo>
                  <a:lnTo>
                    <a:pt x="438414" y="20637"/>
                  </a:lnTo>
                  <a:lnTo>
                    <a:pt x="490802" y="9525"/>
                  </a:lnTo>
                  <a:lnTo>
                    <a:pt x="551127" y="3175"/>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a:xfrm>
            <a:off x="1580257" y="4976931"/>
            <a:ext cx="9031484" cy="1159200"/>
          </a:xfrm>
        </p:spPr>
        <p:txBody>
          <a:bodyPr vert="horz" lIns="91440" tIns="45720" rIns="91440" bIns="45720" rtlCol="0" anchor="b">
            <a:noAutofit/>
          </a:bodyPr>
          <a:lstStyle/>
          <a:p>
            <a:pPr algn="ctr"/>
            <a:r>
              <a:rPr lang="en-US" sz="5400" b="1" kern="1200" dirty="0">
                <a:solidFill>
                  <a:schemeClr val="bg1"/>
                </a:solidFill>
                <a:latin typeface="+mj-lt"/>
                <a:ea typeface="+mj-ea"/>
                <a:cs typeface="+mj-cs"/>
              </a:rPr>
              <a:t>State of the Union</a:t>
            </a:r>
            <a:br>
              <a:rPr lang="en-US" sz="5400" kern="1200" dirty="0">
                <a:solidFill>
                  <a:schemeClr val="bg1"/>
                </a:solidFill>
                <a:latin typeface="+mj-lt"/>
                <a:ea typeface="+mj-ea"/>
                <a:cs typeface="+mj-cs"/>
              </a:rPr>
            </a:br>
            <a:r>
              <a:rPr lang="en-US" sz="5400" kern="1200" dirty="0">
                <a:solidFill>
                  <a:schemeClr val="bg1"/>
                </a:solidFill>
                <a:latin typeface="+mj-lt"/>
                <a:ea typeface="+mj-ea"/>
                <a:cs typeface="+mj-cs"/>
              </a:rPr>
              <a:t>From data </a:t>
            </a:r>
            <a:r>
              <a:rPr lang="en-US" sz="5400" kern="1200" dirty="0">
                <a:solidFill>
                  <a:srgbClr val="FF0000"/>
                </a:solidFill>
                <a:latin typeface="+mj-lt"/>
                <a:ea typeface="+mj-ea"/>
                <a:cs typeface="+mj-cs"/>
              </a:rPr>
              <a:t>mess</a:t>
            </a:r>
            <a:r>
              <a:rPr lang="en-US" sz="5400" kern="1200" dirty="0">
                <a:solidFill>
                  <a:schemeClr val="bg1"/>
                </a:solidFill>
                <a:latin typeface="+mj-lt"/>
                <a:ea typeface="+mj-ea"/>
                <a:cs typeface="+mj-cs"/>
              </a:rPr>
              <a:t> to data </a:t>
            </a:r>
            <a:r>
              <a:rPr lang="en-US" sz="5400" kern="1200" dirty="0">
                <a:solidFill>
                  <a:srgbClr val="00B050"/>
                </a:solidFill>
                <a:latin typeface="+mj-lt"/>
                <a:ea typeface="+mj-ea"/>
                <a:cs typeface="+mj-cs"/>
              </a:rPr>
              <a:t>mesh</a:t>
            </a:r>
          </a:p>
        </p:txBody>
      </p:sp>
      <p:pic>
        <p:nvPicPr>
          <p:cNvPr id="34" name="Picture 33">
            <a:extLst>
              <a:ext uri="{FF2B5EF4-FFF2-40B4-BE49-F238E27FC236}">
                <a16:creationId xmlns:a16="http://schemas.microsoft.com/office/drawing/2014/main" id="{A7EC8873-A163-423C-B393-C442A3AA854A}"/>
              </a:ext>
            </a:extLst>
          </p:cNvPr>
          <p:cNvPicPr>
            <a:picLocks noChangeAspect="1"/>
          </p:cNvPicPr>
          <p:nvPr/>
        </p:nvPicPr>
        <p:blipFill>
          <a:blip r:embed="rId2"/>
          <a:stretch>
            <a:fillRect/>
          </a:stretch>
        </p:blipFill>
        <p:spPr>
          <a:xfrm>
            <a:off x="644406" y="1160775"/>
            <a:ext cx="10903186" cy="2589505"/>
          </a:xfrm>
          <a:prstGeom prst="rect">
            <a:avLst/>
          </a:prstGeom>
        </p:spPr>
      </p:pic>
      <p:sp>
        <p:nvSpPr>
          <p:cNvPr id="16" name="Slide Number Placeholder 1">
            <a:extLst>
              <a:ext uri="{FF2B5EF4-FFF2-40B4-BE49-F238E27FC236}">
                <a16:creationId xmlns:a16="http://schemas.microsoft.com/office/drawing/2014/main" id="{4D0044F8-1C12-4A59-883A-7B56B9370029}"/>
              </a:ext>
            </a:extLst>
          </p:cNvPr>
          <p:cNvSpPr>
            <a:spLocks noGrp="1"/>
          </p:cNvSpPr>
          <p:nvPr>
            <p:ph type="sldNum" sz="quarter" idx="12"/>
          </p:nvPr>
        </p:nvSpPr>
        <p:spPr>
          <a:xfrm>
            <a:off x="8800838" y="6375679"/>
            <a:ext cx="2624400" cy="345796"/>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FC4AC485-25DE-431E-B345-9C0A15BB7F8A}" type="slidenum">
              <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prstClr val="white">
                  <a:alpha val="60000"/>
                </a:prstClr>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30E74E4E-7620-48D4-BC13-42385A771FD4}"/>
              </a:ext>
            </a:extLst>
          </p:cNvPr>
          <p:cNvSpPr/>
          <p:nvPr/>
        </p:nvSpPr>
        <p:spPr>
          <a:xfrm>
            <a:off x="6532776" y="445953"/>
            <a:ext cx="1065226"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3700" b="0" i="0" u="none" strike="noStrike" kern="1200" cap="none" spc="0" normalizeH="0" baseline="0" noProof="0" dirty="0">
                <a:ln>
                  <a:noFill/>
                </a:ln>
                <a:solidFill>
                  <a:schemeClr val="tx1"/>
                </a:solidFill>
                <a:effectLst/>
                <a:uLnTx/>
                <a:uFillTx/>
                <a:latin typeface="Calibri" panose="020F0502020204030204"/>
                <a:ea typeface="+mn-ea"/>
                <a:cs typeface="+mn-cs"/>
              </a:rPr>
              <a:t>IETF</a:t>
            </a:r>
          </a:p>
        </p:txBody>
      </p:sp>
      <p:cxnSp>
        <p:nvCxnSpPr>
          <p:cNvPr id="46" name="Straight Arrow Connector 45">
            <a:extLst>
              <a:ext uri="{FF2B5EF4-FFF2-40B4-BE49-F238E27FC236}">
                <a16:creationId xmlns:a16="http://schemas.microsoft.com/office/drawing/2014/main" id="{B37C819D-5908-42F5-BD5E-CA4D0C3D3410}"/>
              </a:ext>
            </a:extLst>
          </p:cNvPr>
          <p:cNvCxnSpPr/>
          <p:nvPr/>
        </p:nvCxnSpPr>
        <p:spPr>
          <a:xfrm>
            <a:off x="7065389"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F749049D-CD31-4CE2-AACA-EEFCE023A8DD}"/>
              </a:ext>
            </a:extLst>
          </p:cNvPr>
          <p:cNvSpPr/>
          <p:nvPr/>
        </p:nvSpPr>
        <p:spPr>
          <a:xfrm>
            <a:off x="9320122" y="468598"/>
            <a:ext cx="1149758"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Data</a:t>
            </a:r>
            <a:b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b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Industry</a:t>
            </a:r>
          </a:p>
        </p:txBody>
      </p:sp>
      <p:cxnSp>
        <p:nvCxnSpPr>
          <p:cNvPr id="48" name="Straight Arrow Connector 47">
            <a:extLst>
              <a:ext uri="{FF2B5EF4-FFF2-40B4-BE49-F238E27FC236}">
                <a16:creationId xmlns:a16="http://schemas.microsoft.com/office/drawing/2014/main" id="{2CFF771D-98A1-4AFD-8652-D7C99B70EBB1}"/>
              </a:ext>
            </a:extLst>
          </p:cNvPr>
          <p:cNvCxnSpPr/>
          <p:nvPr/>
        </p:nvCxnSpPr>
        <p:spPr>
          <a:xfrm>
            <a:off x="9847384" y="1093888"/>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A40053D-E7F7-4AFA-B89E-4746C30EFF71}"/>
              </a:ext>
            </a:extLst>
          </p:cNvPr>
          <p:cNvSpPr/>
          <p:nvPr/>
        </p:nvSpPr>
        <p:spPr>
          <a:xfrm>
            <a:off x="1862171" y="486542"/>
            <a:ext cx="1974137" cy="368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000" b="0" i="0" u="none" strike="noStrike" kern="1200" cap="none" spc="0" normalizeH="0" baseline="0" noProof="0" dirty="0">
                <a:ln>
                  <a:noFill/>
                </a:ln>
                <a:solidFill>
                  <a:schemeClr val="tx1"/>
                </a:solidFill>
                <a:effectLst/>
                <a:uLnTx/>
                <a:uFillTx/>
                <a:latin typeface="Calibri" panose="020F0502020204030204"/>
                <a:ea typeface="+mn-ea"/>
                <a:cs typeface="+mn-cs"/>
              </a:rPr>
              <a:t>Network Vendor/Operator</a:t>
            </a:r>
          </a:p>
        </p:txBody>
      </p:sp>
      <p:cxnSp>
        <p:nvCxnSpPr>
          <p:cNvPr id="50" name="Straight Arrow Connector 49">
            <a:extLst>
              <a:ext uri="{FF2B5EF4-FFF2-40B4-BE49-F238E27FC236}">
                <a16:creationId xmlns:a16="http://schemas.microsoft.com/office/drawing/2014/main" id="{754A7790-FE2D-4BFB-86B8-312A074DAE3E}"/>
              </a:ext>
            </a:extLst>
          </p:cNvPr>
          <p:cNvCxnSpPr/>
          <p:nvPr/>
        </p:nvCxnSpPr>
        <p:spPr>
          <a:xfrm>
            <a:off x="2849240" y="1057649"/>
            <a:ext cx="0" cy="4053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21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1027906"/>
            <a:ext cx="5906142" cy="493346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Kafka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Apache Kafka,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5739884" cy="4831772"/>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11) Ingest Dat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ccording to Schema</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Time Series Database Inges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9) Get  |  ^                                   ^ (8) Validat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 Against Schema on Consum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10) Issue                        | (7) Produce Kafka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Schema             (5) Post       | with Schema ID prefixe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YANG         | &lt;--------------  |  Data Collection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Schema Registry   | --------------&gt;  | YANG-Push Receiver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6) Issu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ID     (3) Get |  ^ (2) Receive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Schema |  | Subscription Start Message</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   | (4) Publish YANG-Push</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v  |   | Message with Subscription ID</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Network       | (1) Subscribe    |   Network Nod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Orchestration    | ---------------&gt; | YANG-Push Publish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                  +--------------------+</a:t>
            </a:r>
          </a:p>
          <a:p>
            <a:pPr marL="0" marR="0">
              <a:lnSpc>
                <a:spcPct val="107000"/>
              </a:lnSpc>
              <a:spcBef>
                <a:spcPts val="0"/>
              </a:spcBef>
              <a:spcAft>
                <a:spcPts val="0"/>
              </a:spcAft>
            </a:pPr>
            <a:endParaRPr lang="en-US" sz="9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Figure 1: End to End Workflow</a:t>
            </a:r>
            <a:endParaRPr lang="de-CH" sz="9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06975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750185"/>
            <a:ext cx="4656513" cy="879600"/>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2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conf Notifications</a:t>
            </a:r>
            <a:br>
              <a:rPr lang="en-GB" sz="3200" dirty="0"/>
            </a:br>
            <a:r>
              <a:rPr lang="en-US" sz="2400" dirty="0">
                <a:solidFill>
                  <a:schemeClr val="bg2">
                    <a:lumMod val="75000"/>
                  </a:schemeClr>
                </a:solidFill>
              </a:rPr>
              <a:t>Define YANG modul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28215" y="1820487"/>
            <a:ext cx="4656512" cy="4547064"/>
          </a:xfrm>
        </p:spPr>
        <p:txBody>
          <a:bodyPr>
            <a:noAutofit/>
          </a:bodyPr>
          <a:lstStyle/>
          <a:p>
            <a:r>
              <a:rPr lang="en-US" sz="2000" b="1" dirty="0"/>
              <a:t>YANG model for NETCONF Event Notifications, </a:t>
            </a:r>
            <a:r>
              <a:rPr lang="en-US" sz="2000" dirty="0">
                <a:effectLst/>
                <a:ea typeface="Times New Roman" panose="02020603050405020304" pitchFamily="18" charset="0"/>
                <a:hlinkClick r:id="rId2"/>
              </a:rPr>
              <a:t>draft-</a:t>
            </a:r>
            <a:r>
              <a:rPr lang="en-US" sz="2000" dirty="0" err="1">
                <a:effectLst/>
                <a:ea typeface="Times New Roman" panose="02020603050405020304" pitchFamily="18" charset="0"/>
                <a:hlinkClick r:id="rId2"/>
              </a:rPr>
              <a:t>ahuang</a:t>
            </a:r>
            <a:r>
              <a:rPr lang="en-US" sz="2000" dirty="0">
                <a:effectLst/>
                <a:ea typeface="Times New Roman" panose="02020603050405020304" pitchFamily="18" charset="0"/>
                <a:hlinkClick r:id="rId2"/>
              </a:rPr>
              <a:t>-netconf-</a:t>
            </a:r>
            <a:r>
              <a:rPr lang="en-US" sz="2000" dirty="0" err="1">
                <a:effectLst/>
                <a:ea typeface="Times New Roman" panose="02020603050405020304" pitchFamily="18" charset="0"/>
                <a:hlinkClick r:id="rId2"/>
              </a:rPr>
              <a:t>notif</a:t>
            </a:r>
            <a:r>
              <a:rPr lang="en-US" sz="2000" dirty="0">
                <a:effectLst/>
                <a:ea typeface="Times New Roman" panose="02020603050405020304" pitchFamily="18" charset="0"/>
                <a:hlinkClick r:id="rId2"/>
              </a:rPr>
              <a:t>-yang</a:t>
            </a:r>
            <a:r>
              <a:rPr lang="en-US" sz="2000" dirty="0">
                <a:ea typeface="Times New Roman" panose="02020603050405020304" pitchFamily="18" charset="0"/>
              </a:rPr>
              <a:t>, </a:t>
            </a:r>
            <a:r>
              <a:rPr lang="en-US" sz="2000" dirty="0">
                <a:effectLst/>
                <a:ea typeface="Times New Roman" panose="02020603050405020304" pitchFamily="18" charset="0"/>
              </a:rPr>
              <a:t>updates RFC 5277 by defining the schema as a YANG module. </a:t>
            </a:r>
          </a:p>
          <a:p>
            <a:r>
              <a:rPr lang="en-US" sz="2000" dirty="0">
                <a:effectLst/>
                <a:ea typeface="Times New Roman" panose="02020603050405020304" pitchFamily="18" charset="0"/>
              </a:rPr>
              <a:t>This enables YANG-push </a:t>
            </a:r>
            <a:r>
              <a:rPr lang="en-US" sz="2000" dirty="0"/>
              <a:t>to define semantics for the entire YANG push message and </a:t>
            </a:r>
            <a:r>
              <a:rPr lang="en-US" sz="2000" dirty="0">
                <a:effectLst/>
                <a:ea typeface="Times New Roman" panose="02020603050405020304" pitchFamily="18" charset="0"/>
              </a:rPr>
              <a:t>use other encodings than XML such as YANG-JSON RFC 7951 or YANG-CBOR RFC 9264.</a:t>
            </a:r>
            <a:endParaRPr lang="en-US" sz="2000" dirty="0"/>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46556"/>
            <a:ext cx="6304985" cy="3251018"/>
          </a:xfrm>
          <a:prstGeom prst="rect">
            <a:avLst/>
          </a:prstGeom>
          <a:noFill/>
        </p:spPr>
        <p:txBody>
          <a:bodyPr wrap="square">
            <a:spAutoFit/>
          </a:bodyPr>
          <a:lstStyle/>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 </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urn:ietf:params:xml:ns:netconf:notification:1.0"&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2023-02-04T16:30:11.22Z&lt;/</a:t>
            </a:r>
            <a:r>
              <a:rPr lang="fr-CH" sz="12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lt;push-update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yang-push</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d&gt;1011&lt;/id&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 </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xmln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urn:ietf:params:xml:ns:yang:ietf-interface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eth0&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up&lt;/</a:t>
            </a:r>
            <a:r>
              <a:rPr lang="fr-CH" sz="12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1200" dirty="0">
                <a:effectLst/>
                <a:latin typeface="Courier New" panose="02070309020205020404" pitchFamily="49" charset="0"/>
                <a:ea typeface="Calibri" panose="020F0502020204030204" pitchFamily="34" charset="0"/>
                <a:cs typeface="Times New Roman" panose="02020603050405020304" pitchFamily="18" charset="0"/>
              </a:rPr>
              <a:t>&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interface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datastore-contents&gt;</a:t>
            </a:r>
          </a:p>
          <a:p>
            <a:pPr marL="0" marR="0">
              <a:lnSpc>
                <a:spcPct val="107000"/>
              </a:lnSpc>
              <a:spcBef>
                <a:spcPts val="0"/>
              </a:spcBef>
              <a:spcAft>
                <a:spcPts val="0"/>
              </a:spcAft>
            </a:pPr>
            <a:r>
              <a:rPr lang="fr-CH" sz="1200" dirty="0">
                <a:effectLst/>
                <a:latin typeface="Courier New" panose="02070309020205020404" pitchFamily="49" charset="0"/>
                <a:ea typeface="Calibri" panose="020F0502020204030204" pitchFamily="34" charset="0"/>
                <a:cs typeface="Times New Roman" panose="02020603050405020304" pitchFamily="18" charset="0"/>
              </a:rPr>
              <a:t> &lt;/push-update&gt;</a:t>
            </a:r>
          </a:p>
          <a:p>
            <a:pPr marL="0" marR="0">
              <a:lnSpc>
                <a:spcPct val="107000"/>
              </a:lnSpc>
              <a:spcBef>
                <a:spcPts val="0"/>
              </a:spcBef>
              <a:spcAft>
                <a:spcPts val="0"/>
              </a:spcAft>
            </a:pPr>
            <a:r>
              <a:rPr lang="fr-CH" sz="12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lt;/notification&gt;</a:t>
            </a:r>
            <a:endParaRPr lang="de-CH" sz="12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3264932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7052651" y="1968758"/>
            <a:ext cx="4949492" cy="3992609"/>
          </a:xfrm>
        </p:spPr>
        <p:txBody>
          <a:bodyPr>
            <a:noAutofit/>
          </a:bodyPr>
          <a:lstStyle/>
          <a:p>
            <a:r>
              <a:rPr lang="en-US" sz="2000" b="1" dirty="0"/>
              <a:t>Support of Versioning in YANG Notifications Subscription</a:t>
            </a:r>
            <a:r>
              <a:rPr lang="en-US" sz="2000" dirty="0"/>
              <a:t>, </a:t>
            </a:r>
            <a:r>
              <a:rPr lang="en-US" sz="2000" dirty="0">
                <a:hlinkClick r:id="rId2"/>
              </a:rPr>
              <a:t>draft-</a:t>
            </a:r>
            <a:r>
              <a:rPr lang="en-US" sz="2000" dirty="0" err="1">
                <a:hlinkClick r:id="rId2"/>
              </a:rPr>
              <a:t>ietf</a:t>
            </a:r>
            <a:r>
              <a:rPr lang="en-US" sz="2000" dirty="0">
                <a:hlinkClick r:id="rId2"/>
              </a:rPr>
              <a:t>-netconf-yang-notifications-versioning</a:t>
            </a:r>
            <a:r>
              <a:rPr lang="en-US" sz="2000" dirty="0"/>
              <a:t>, adds the ability to subscribe to a specific revision or latest-compatible-</a:t>
            </a:r>
            <a:r>
              <a:rPr lang="en-US" sz="2000" dirty="0" err="1"/>
              <a:t>semversion</a:t>
            </a:r>
            <a:r>
              <a:rPr lang="en-US" sz="2000" dirty="0"/>
              <a:t>. Extends the YANG-Push Subscription State Change Notifications so that the receiver learns on top of </a:t>
            </a:r>
            <a:r>
              <a:rPr lang="en-US" sz="2000" dirty="0" err="1"/>
              <a:t>xpath</a:t>
            </a:r>
            <a:r>
              <a:rPr lang="en-US" sz="2000" dirty="0"/>
              <a:t> and the sub-tree filter also the YANG module name, revision and revision-label.</a:t>
            </a:r>
          </a:p>
          <a:p>
            <a:r>
              <a:rPr lang="en-US" sz="2000" b="1" dirty="0"/>
              <a:t>Support of Hostname and Sequencing in YANG Notifications</a:t>
            </a:r>
            <a:r>
              <a:rPr lang="en-US" sz="2000" dirty="0"/>
              <a:t>, </a:t>
            </a:r>
            <a:r>
              <a:rPr lang="en-US" sz="2000" dirty="0">
                <a:hlinkClick r:id="rId3"/>
              </a:rPr>
              <a:t>draft-</a:t>
            </a:r>
            <a:r>
              <a:rPr lang="en-US" sz="2000" dirty="0" err="1">
                <a:hlinkClick r:id="rId3"/>
              </a:rPr>
              <a:t>tgraf</a:t>
            </a:r>
            <a:r>
              <a:rPr lang="en-US" sz="2000" dirty="0">
                <a:hlinkClick r:id="rId3"/>
              </a:rPr>
              <a:t>-netconf-</a:t>
            </a:r>
            <a:r>
              <a:rPr lang="en-US" sz="2000" dirty="0" err="1">
                <a:hlinkClick r:id="rId3"/>
              </a:rPr>
              <a:t>notif</a:t>
            </a:r>
            <a:r>
              <a:rPr lang="en-US" sz="2000" dirty="0">
                <a:hlinkClick r:id="rId3"/>
              </a:rPr>
              <a:t>-sequencing</a:t>
            </a:r>
            <a:r>
              <a:rPr lang="en-US" sz="2000" dirty="0"/>
              <a:t>,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ubscription State Change Notifications</a:t>
            </a:r>
            <a:br>
              <a:rPr lang="en-US" sz="3600" dirty="0"/>
            </a:br>
            <a:r>
              <a:rPr lang="en-US" sz="2700" dirty="0">
                <a:solidFill>
                  <a:schemeClr val="bg2">
                    <a:lumMod val="75000"/>
                  </a:schemeClr>
                </a:solidFill>
              </a:rPr>
              <a:t>RFC 8641 Extensions</a:t>
            </a:r>
            <a:endParaRPr lang="en-US" sz="2700" dirty="0">
              <a:solidFill>
                <a:srgbClr val="FF0000"/>
              </a:solidFill>
            </a:endParaRP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25640"/>
            <a:ext cx="6995298" cy="4831964"/>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12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12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endParaRPr lang="en-US" sz="12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3: JSON YANG-Push Example for a subscription-started</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871899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971168" y="1968758"/>
            <a:ext cx="5030975" cy="3992609"/>
          </a:xfrm>
        </p:spPr>
        <p:txBody>
          <a:bodyPr>
            <a:noAutofit/>
          </a:bodyPr>
          <a:lstStyle/>
          <a:p>
            <a:r>
              <a:rPr lang="en-US" sz="2000" b="1" dirty="0"/>
              <a:t>Support of Hostname and Sequencing in YANG Notifications, </a:t>
            </a:r>
            <a:r>
              <a:rPr lang="en-US" sz="2000" dirty="0">
                <a:hlinkClick r:id="rId2"/>
              </a:rPr>
              <a:t>draft-</a:t>
            </a:r>
            <a:r>
              <a:rPr lang="en-US" sz="2000" dirty="0" err="1">
                <a:hlinkClick r:id="rId2"/>
              </a:rPr>
              <a:t>tgraf</a:t>
            </a:r>
            <a:r>
              <a:rPr lang="en-US" sz="2000" dirty="0">
                <a:hlinkClick r:id="rId2"/>
              </a:rPr>
              <a:t>-netconf-</a:t>
            </a:r>
            <a:r>
              <a:rPr lang="en-US" sz="2000" dirty="0" err="1">
                <a:hlinkClick r:id="rId2"/>
              </a:rPr>
              <a:t>notif</a:t>
            </a:r>
            <a:r>
              <a:rPr lang="en-US" sz="2000" dirty="0">
                <a:hlinkClick r:id="rId2"/>
              </a:rPr>
              <a:t>-sequencing</a:t>
            </a:r>
            <a:r>
              <a:rPr lang="en-US" sz="2000" dirty="0"/>
              <a:t>, , extends the NETCONF notification defined in RFC5277 with </a:t>
            </a:r>
            <a:r>
              <a:rPr lang="en-US" sz="2000" dirty="0" err="1"/>
              <a:t>sysName</a:t>
            </a:r>
            <a:r>
              <a:rPr lang="en-US" sz="2000" dirty="0"/>
              <a:t>, </a:t>
            </a:r>
            <a:r>
              <a:rPr lang="en-US" sz="2000" dirty="0" err="1"/>
              <a:t>publisherId</a:t>
            </a:r>
            <a:r>
              <a:rPr lang="en-US" sz="2000" dirty="0"/>
              <a:t> and </a:t>
            </a:r>
            <a:r>
              <a:rPr lang="en-US" sz="2000" dirty="0" err="1"/>
              <a:t>sequenceNumber</a:t>
            </a:r>
            <a:r>
              <a:rPr lang="en-US" sz="2000" dirty="0"/>
              <a:t>.</a:t>
            </a:r>
          </a:p>
          <a:p>
            <a:r>
              <a:rPr lang="en-US" sz="2000" b="1" dirty="0"/>
              <a:t>Support of Network Observation Timestamping in YANG Notifications</a:t>
            </a:r>
            <a:r>
              <a:rPr lang="en-US" sz="2000" dirty="0"/>
              <a:t>, </a:t>
            </a:r>
            <a:br>
              <a:rPr lang="en-US" sz="2000" dirty="0"/>
            </a:br>
            <a:r>
              <a:rPr lang="en-US" sz="2000" dirty="0">
                <a:hlinkClick r:id="rId3"/>
              </a:rPr>
              <a:t>draft-</a:t>
            </a:r>
            <a:r>
              <a:rPr lang="en-US" sz="2000" dirty="0" err="1">
                <a:hlinkClick r:id="rId3"/>
              </a:rPr>
              <a:t>tgraf</a:t>
            </a:r>
            <a:r>
              <a:rPr lang="en-US" sz="2000" dirty="0">
                <a:hlinkClick r:id="rId3"/>
              </a:rPr>
              <a:t>-netconf-yang-push-observation-time</a:t>
            </a:r>
            <a:r>
              <a:rPr lang="en-US" sz="2000" dirty="0"/>
              <a:t>, extends YANG-Push push-update notifications with observation-time and state-changed-observation-tim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Push-Update and Push-Change-Update Notifications</a:t>
            </a:r>
            <a:br>
              <a:rPr lang="en-US" sz="3600" dirty="0"/>
            </a:br>
            <a:r>
              <a:rPr lang="en-US" sz="2700" dirty="0">
                <a:solidFill>
                  <a:schemeClr val="bg2">
                    <a:lumMod val="75000"/>
                  </a:schemeClr>
                </a:solidFill>
              </a:rPr>
              <a:t>RFC 8641 Extensions</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5" y="1725640"/>
            <a:ext cx="7348384" cy="5029582"/>
          </a:xfrm>
          <a:prstGeom prst="rect">
            <a:avLst/>
          </a:prstGeom>
          <a:noFill/>
        </p:spPr>
        <p:txBody>
          <a:bodyPr wrap="square">
            <a:spAutoFit/>
          </a:bodyPr>
          <a:lstStyle/>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2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netobs-timestamping:observation-time</a:t>
            </a:r>
            <a:r>
              <a:rPr lang="en-US" sz="12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12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r>
              <a:rPr lang="en-US" sz="12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12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1200" dirty="0">
                <a:effectLst/>
                <a:latin typeface="Courier New" panose="02070309020205020404" pitchFamily="49" charset="0"/>
                <a:ea typeface="Calibri" panose="020F0502020204030204" pitchFamily="34" charset="0"/>
                <a:cs typeface="Courier New" panose="02070309020205020404" pitchFamily="49" charset="0"/>
              </a:rPr>
              <a:t>   Figure 4: JSON YANG-Push Example for a push-update notification message</a:t>
            </a:r>
            <a:endParaRPr lang="de-CH"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493784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0" y="1968758"/>
            <a:ext cx="5906143" cy="3992609"/>
          </a:xfrm>
        </p:spPr>
        <p:txBody>
          <a:bodyPr>
            <a:noAutofit/>
          </a:bodyPr>
          <a:lstStyle/>
          <a:p>
            <a:r>
              <a:rPr lang="en-US" sz="2000" b="1" dirty="0"/>
              <a:t>Augmented-by Addition into the IETF-YANG-Library</a:t>
            </a:r>
            <a:r>
              <a:rPr lang="en-US" sz="2000" dirty="0"/>
              <a:t>, </a:t>
            </a:r>
            <a:br>
              <a:rPr lang="en-US" sz="2000" dirty="0"/>
            </a:br>
            <a:r>
              <a:rPr lang="en-US" sz="2000" dirty="0">
                <a:hlinkClick r:id="rId2"/>
              </a:rPr>
              <a:t>draft-</a:t>
            </a:r>
            <a:r>
              <a:rPr lang="en-US" sz="2000" dirty="0" err="1">
                <a:hlinkClick r:id="rId2"/>
              </a:rPr>
              <a:t>lincla</a:t>
            </a:r>
            <a:r>
              <a:rPr lang="en-US" sz="2000" dirty="0">
                <a:hlinkClick r:id="rId2"/>
              </a:rPr>
              <a:t>-netconf-yang-library-augmentation</a:t>
            </a:r>
            <a:r>
              <a:rPr lang="en-US" sz="2000" dirty="0"/>
              <a:t>, enables that augmented-by YANG modules can now be discovered in YANG Library </a:t>
            </a:r>
            <a:r>
              <a:rPr lang="en-US" sz="2000" dirty="0">
                <a:hlinkClick r:id="rId3"/>
              </a:rPr>
              <a:t>RFC 8525</a:t>
            </a:r>
            <a:r>
              <a:rPr lang="en-US" sz="2000" dirty="0"/>
              <a:t>.</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7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356116" y="1730616"/>
            <a:ext cx="5739884" cy="4436727"/>
          </a:xfrm>
          <a:prstGeom prst="rect">
            <a:avLst/>
          </a:prstGeom>
          <a:noFill/>
        </p:spPr>
        <p:txBody>
          <a:bodyPr wrap="square">
            <a:spAutoFit/>
          </a:bodyPr>
          <a:lstStyle/>
          <a:p>
            <a:pPr marL="0" marR="0">
              <a:lnSpc>
                <a:spcPct val="107000"/>
              </a:lnSpc>
              <a:spcBef>
                <a:spcPts val="0"/>
              </a:spcBef>
              <a:spcAft>
                <a:spcPts val="0"/>
              </a:spcAft>
            </a:pP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highlight>
                  <a:srgbClr val="00FF00"/>
                </a:highlight>
                <a:latin typeface="Courier New" panose="02070309020205020404" pitchFamily="49" charset="0"/>
                <a:cs typeface="Courier New" panose="02070309020205020404" pitchFamily="49" charset="0"/>
              </a:rPr>
              <a:t>ietf-yang-library</a:t>
            </a:r>
            <a:endParaRPr lang="de-CH" sz="12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library</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se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ring</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spac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ubmodul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am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vision-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locatio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et:uri</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feature*                    </a:t>
            </a:r>
            <a:r>
              <a:rPr lang="de-CH" sz="1200" dirty="0" err="1">
                <a:latin typeface="Courier New" panose="02070309020205020404" pitchFamily="49" charset="0"/>
                <a:cs typeface="Courier New" panose="02070309020205020404" pitchFamily="49" charset="0"/>
              </a:rPr>
              <a:t>yang:yang-identifier</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latin typeface="Courier New" panose="02070309020205020404" pitchFamily="49" charset="0"/>
                <a:cs typeface="Courier New" panose="02070309020205020404" pitchFamily="49" charset="0"/>
              </a:rPr>
              <a:t>  |  |  |  +--</a:t>
            </a:r>
            <a:r>
              <a:rPr lang="de-CH" sz="1200" dirty="0" err="1">
                <a:latin typeface="Courier New" panose="02070309020205020404" pitchFamily="49" charset="0"/>
                <a:cs typeface="Courier New" panose="02070309020205020404" pitchFamily="49" charset="0"/>
              </a:rPr>
              <a:t>r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viation</a:t>
            </a:r>
            <a:r>
              <a:rPr lang="de-CH" sz="1200" dirty="0">
                <a:latin typeface="Courier New" panose="02070309020205020404" pitchFamily="49" charset="0"/>
                <a:cs typeface="Courier New" panose="02070309020205020404" pitchFamily="49" charset="0"/>
              </a:rPr>
              <a:t>*                  -&g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a:t>
            </a:r>
            <a:r>
              <a:rPr lang="de-CH" sz="1200" dirty="0" err="1">
                <a:latin typeface="Courier New" panose="02070309020205020404" pitchFamily="49" charset="0"/>
                <a:cs typeface="Courier New" panose="02070309020205020404" pitchFamily="49" charset="0"/>
              </a:rPr>
              <a:t>name</a:t>
            </a:r>
            <a:endParaRPr lang="de-CH" sz="12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  |  |  +--</a:t>
            </a:r>
            <a:r>
              <a:rPr lang="de-CH" sz="1200" dirty="0" err="1">
                <a:highlight>
                  <a:srgbClr val="FFFF00"/>
                </a:highlight>
                <a:latin typeface="Courier New" panose="02070309020205020404" pitchFamily="49" charset="0"/>
                <a:cs typeface="Courier New" panose="02070309020205020404" pitchFamily="49" charset="0"/>
              </a:rPr>
              <a:t>r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yanglib-aug:augmented-by</a:t>
            </a:r>
            <a:r>
              <a:rPr lang="de-CH" sz="12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200" dirty="0">
                <a:highlight>
                  <a:srgbClr val="FFFF00"/>
                </a:highlight>
                <a:latin typeface="Courier New" panose="02070309020205020404" pitchFamily="49" charset="0"/>
                <a:cs typeface="Courier New" panose="02070309020205020404" pitchFamily="49" charset="0"/>
              </a:rPr>
              <a:t>                                     -&gt; ../../</a:t>
            </a:r>
            <a:r>
              <a:rPr lang="de-CH" sz="1200" dirty="0" err="1">
                <a:highlight>
                  <a:srgbClr val="FFFF00"/>
                </a:highlight>
                <a:latin typeface="Courier New" panose="02070309020205020404" pitchFamily="49" charset="0"/>
                <a:cs typeface="Courier New" panose="02070309020205020404" pitchFamily="49" charset="0"/>
              </a:rPr>
              <a:t>yanglib:module</a:t>
            </a:r>
            <a:r>
              <a:rPr lang="de-CH" sz="1200" dirty="0">
                <a:highlight>
                  <a:srgbClr val="FFFF00"/>
                </a:highlight>
                <a:latin typeface="Courier New" panose="02070309020205020404" pitchFamily="49" charset="0"/>
                <a:cs typeface="Courier New" panose="02070309020205020404" pitchFamily="49" charset="0"/>
              </a:rPr>
              <a:t>/</a:t>
            </a:r>
            <a:r>
              <a:rPr lang="de-CH" sz="1200" dirty="0" err="1">
                <a:highlight>
                  <a:srgbClr val="FFFF00"/>
                </a:highlight>
                <a:latin typeface="Courier New" panose="02070309020205020404" pitchFamily="49" charset="0"/>
                <a:cs typeface="Courier New" panose="02070309020205020404" pitchFamily="49" charset="0"/>
              </a:rPr>
              <a:t>name</a:t>
            </a:r>
            <a:endParaRPr lang="de-CH" sz="1200" dirty="0">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32571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2148</Words>
  <Application>Microsoft Office PowerPoint</Application>
  <PresentationFormat>Widescreen</PresentationFormat>
  <Paragraphs>256</Paragraphs>
  <Slides>15</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5</vt:i4>
      </vt:variant>
    </vt:vector>
  </HeadingPairs>
  <TitlesOfParts>
    <vt:vector size="20" baseType="lpstr">
      <vt:lpstr>Arial</vt:lpstr>
      <vt:lpstr>Calibri</vt:lpstr>
      <vt:lpstr>Calibri Light</vt:lpstr>
      <vt:lpstr>Courier New</vt:lpstr>
      <vt:lpstr>Office Theme</vt:lpstr>
      <vt:lpstr>PowerPoint Presentation</vt:lpstr>
      <vt:lpstr>Handling Operational YANG Modelled Data State of the Union</vt:lpstr>
      <vt:lpstr>State of the Union From data mess to data mesh</vt:lpstr>
      <vt:lpstr>From YANG-Push to Network Analytics Aiming for an automated processing pipeline</vt:lpstr>
      <vt:lpstr>Elements of the Architecture Workflow Diagram</vt:lpstr>
      <vt:lpstr>Netconf Notifications Define YANG module</vt:lpstr>
      <vt:lpstr>Subscription State Change Notifications RFC 8641 Extensions</vt:lpstr>
      <vt:lpstr>Push-Update and Push-Change-Update Notifications RFC 8641 Extensions</vt:lpstr>
      <vt:lpstr>Augmented-by Addition YANG Library Extension</vt:lpstr>
      <vt:lpstr>Validate anydata schema subtree with YANG Library RFC 7950 Extension</vt:lpstr>
      <vt:lpstr>Industry Colaboration On YANG Push to Apache Kafka integration</vt:lpstr>
      <vt:lpstr>Milestones IETF 115 - 119</vt:lpstr>
      <vt:lpstr>Open Points Currently ongoing</vt:lpstr>
      <vt:lpstr>An Architecture for YANG-Push to Apache Kafka Integration Status, Summary and 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36</cp:revision>
  <dcterms:created xsi:type="dcterms:W3CDTF">2019-11-29T14:22:02Z</dcterms:created>
  <dcterms:modified xsi:type="dcterms:W3CDTF">2024-03-15T22:5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